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  <p:sldMasterId id="2147483759" r:id="rId2"/>
    <p:sldMasterId id="2147483747" r:id="rId3"/>
    <p:sldMasterId id="2147483734" r:id="rId4"/>
  </p:sldMasterIdLst>
  <p:notesMasterIdLst>
    <p:notesMasterId r:id="rId11"/>
  </p:notesMasterIdLst>
  <p:handoutMasterIdLst>
    <p:handoutMasterId r:id="rId12"/>
  </p:handoutMasterIdLst>
  <p:sldIdLst>
    <p:sldId id="505" r:id="rId5"/>
    <p:sldId id="512" r:id="rId6"/>
    <p:sldId id="509" r:id="rId7"/>
    <p:sldId id="511" r:id="rId8"/>
    <p:sldId id="513" r:id="rId9"/>
    <p:sldId id="510" r:id="rId10"/>
  </p:sldIdLst>
  <p:sldSz cx="12192000" cy="16256000"/>
  <p:notesSz cx="9296400" cy="7010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9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955C"/>
    <a:srgbClr val="DDC9A3"/>
    <a:srgbClr val="3C5C4F"/>
    <a:srgbClr val="BA082B"/>
    <a:srgbClr val="6EB675"/>
    <a:srgbClr val="FF2929"/>
    <a:srgbClr val="0E67A6"/>
    <a:srgbClr val="FAE15D"/>
    <a:srgbClr val="009900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32" autoAdjust="0"/>
    <p:restoredTop sz="96395" autoAdjust="0"/>
  </p:normalViewPr>
  <p:slideViewPr>
    <p:cSldViewPr snapToGrid="0">
      <p:cViewPr varScale="1">
        <p:scale>
          <a:sx n="65" d="100"/>
          <a:sy n="65" d="100"/>
        </p:scale>
        <p:origin x="7254" y="114"/>
      </p:cViewPr>
      <p:guideLst>
        <p:guide orient="horz" pos="509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3" d="100"/>
          <a:sy n="113" d="100"/>
        </p:scale>
        <p:origin x="241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4\1.%20Hoja%20trabajo%20Gr&#225;ficos%20AP%20Infograf&#237;a%20-%20ENE%20-%20VDMCE%202024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77341050206501"/>
          <c:y val="0.12979603695227174"/>
          <c:w val="0.78275503610260433"/>
          <c:h val="0.7602099114393885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E67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A3-445F-BE91-CD7D575EC54B}"/>
              </c:ext>
            </c:extLst>
          </c:dPt>
          <c:dPt>
            <c:idx val="1"/>
            <c:bubble3D val="0"/>
            <c:spPr>
              <a:solidFill>
                <a:srgbClr val="FF292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A3-445F-BE91-CD7D575EC54B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A3-445F-BE91-CD7D575EC54B}"/>
              </c:ext>
            </c:extLst>
          </c:dPt>
          <c:dLbls>
            <c:dLbl>
              <c:idx val="0"/>
              <c:layout>
                <c:manualLayout>
                  <c:x val="0.17992564704649977"/>
                  <c:y val="1.9801985343932158E-2"/>
                </c:manualLayout>
              </c:layout>
              <c:tx>
                <c:rich>
                  <a:bodyPr/>
                  <a:lstStyle/>
                  <a:p>
                    <a:fld id="{82D20859-A38A-4E6E-934C-17BB8362801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4476E4A5-B34F-4CE8-AE36-23C9BD176E50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5A3-445F-BE91-CD7D575EC54B}"/>
                </c:ext>
              </c:extLst>
            </c:dLbl>
            <c:dLbl>
              <c:idx val="1"/>
              <c:layout>
                <c:manualLayout>
                  <c:x val="-0.1826517932138709"/>
                  <c:y val="-6.0505367365514664E-17"/>
                </c:manualLayout>
              </c:layout>
              <c:tx>
                <c:rich>
                  <a:bodyPr/>
                  <a:lstStyle/>
                  <a:p>
                    <a:fld id="{452452F3-DBF9-4980-B1BD-16EE1D9D78E1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9AD349D3-4F99-4E5A-BB5E-36C6E437CFA4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5A3-445F-BE91-CD7D575EC54B}"/>
                </c:ext>
              </c:extLst>
            </c:dLbl>
            <c:dLbl>
              <c:idx val="2"/>
              <c:layout>
                <c:manualLayout>
                  <c:x val="-2.1809169338969658E-2"/>
                  <c:y val="-0.19141919165801088"/>
                </c:manualLayout>
              </c:layout>
              <c:tx>
                <c:rich>
                  <a:bodyPr/>
                  <a:lstStyle/>
                  <a:p>
                    <a:fld id="{85712152-3EDE-46B2-ABA4-DD8D02DB634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2BF59670-D901-45C7-8382-968754CABDE7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5A3-445F-BE91-CD7D575EC5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ePHYTO Alianza del Pacífico'!$B$104:$B$106</c:f>
              <c:strCache>
                <c:ptCount val="3"/>
                <c:pt idx="0">
                  <c:v>Chile</c:v>
                </c:pt>
                <c:pt idx="1">
                  <c:v>Perú</c:v>
                </c:pt>
                <c:pt idx="2">
                  <c:v>Colombia</c:v>
                </c:pt>
              </c:strCache>
            </c:strRef>
          </c:cat>
          <c:val>
            <c:numRef>
              <c:f>'ePHYTO Alianza del Pacífico'!$C$104:$C$106</c:f>
              <c:numCache>
                <c:formatCode>_-* #,##0_-;\-* #,##0_-;_-* "-"??_-;_-@_-</c:formatCode>
                <c:ptCount val="3"/>
                <c:pt idx="0">
                  <c:v>14296</c:v>
                </c:pt>
                <c:pt idx="1">
                  <c:v>15590</c:v>
                </c:pt>
                <c:pt idx="2">
                  <c:v>1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5A3-445F-BE91-CD7D575EC54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3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 b="1"/>
      </a:pPr>
      <a:endParaRPr lang="es-MX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-6.9444444444444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A6B-4B8C-845E-9739E39D7D65}"/>
                </c:ext>
              </c:extLst>
            </c:dLbl>
            <c:dLbl>
              <c:idx val="1"/>
              <c:layout>
                <c:manualLayout>
                  <c:x val="-1.0185067526415994E-16"/>
                  <c:y val="-4.62962962962962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6B-4B8C-845E-9739E39D7D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ePHYTO GTM'!$A$7:$B$27</c:f>
              <c:multiLvlStrCache>
                <c:ptCount val="21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go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ic</c:v>
                  </c:pt>
                  <c:pt idx="8">
                    <c:v>Ene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Abr</c:v>
                  </c:pt>
                  <c:pt idx="12">
                    <c:v>May</c:v>
                  </c:pt>
                  <c:pt idx="13">
                    <c:v>Jun</c:v>
                  </c:pt>
                  <c:pt idx="14">
                    <c:v>Jul</c:v>
                  </c:pt>
                  <c:pt idx="15">
                    <c:v>Ago</c:v>
                  </c:pt>
                  <c:pt idx="16">
                    <c:v>Sep</c:v>
                  </c:pt>
                  <c:pt idx="17">
                    <c:v>Oct</c:v>
                  </c:pt>
                  <c:pt idx="18">
                    <c:v>Nov</c:v>
                  </c:pt>
                  <c:pt idx="19">
                    <c:v>Dic</c:v>
                  </c:pt>
                  <c:pt idx="20">
                    <c:v>Ene</c:v>
                  </c:pt>
                </c:lvl>
                <c:lvl>
                  <c:pt idx="0">
                    <c:v>2022</c:v>
                  </c:pt>
                  <c:pt idx="8">
                    <c:v>2023</c:v>
                  </c:pt>
                  <c:pt idx="20">
                    <c:v>2024</c:v>
                  </c:pt>
                </c:lvl>
              </c:multiLvlStrCache>
            </c:multiLvlStrRef>
          </c:cat>
          <c:val>
            <c:numRef>
              <c:f>'ePHYTO GTM'!$C$7:$C$27</c:f>
              <c:numCache>
                <c:formatCode>General</c:formatCode>
                <c:ptCount val="21"/>
                <c:pt idx="0">
                  <c:v>42</c:v>
                </c:pt>
                <c:pt idx="1">
                  <c:v>34</c:v>
                </c:pt>
                <c:pt idx="2">
                  <c:v>59</c:v>
                </c:pt>
                <c:pt idx="3">
                  <c:v>40</c:v>
                </c:pt>
                <c:pt idx="4">
                  <c:v>54</c:v>
                </c:pt>
                <c:pt idx="5">
                  <c:v>50</c:v>
                </c:pt>
                <c:pt idx="6">
                  <c:v>45</c:v>
                </c:pt>
                <c:pt idx="7">
                  <c:v>44</c:v>
                </c:pt>
                <c:pt idx="8">
                  <c:v>48</c:v>
                </c:pt>
                <c:pt idx="9">
                  <c:v>44</c:v>
                </c:pt>
                <c:pt idx="10">
                  <c:v>57</c:v>
                </c:pt>
                <c:pt idx="11">
                  <c:v>31</c:v>
                </c:pt>
                <c:pt idx="12">
                  <c:v>34</c:v>
                </c:pt>
                <c:pt idx="13">
                  <c:v>43</c:v>
                </c:pt>
                <c:pt idx="14">
                  <c:v>50</c:v>
                </c:pt>
                <c:pt idx="15">
                  <c:v>47</c:v>
                </c:pt>
                <c:pt idx="16">
                  <c:v>56</c:v>
                </c:pt>
                <c:pt idx="17">
                  <c:v>25</c:v>
                </c:pt>
                <c:pt idx="18">
                  <c:v>45</c:v>
                </c:pt>
                <c:pt idx="19">
                  <c:v>43</c:v>
                </c:pt>
                <c:pt idx="20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6B-4B8C-845E-9739E39D7D6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35950336"/>
        <c:axId val="35952416"/>
        <c:axId val="0"/>
      </c:bar3DChart>
      <c:catAx>
        <c:axId val="3595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5952416"/>
        <c:crosses val="autoZero"/>
        <c:auto val="1"/>
        <c:lblAlgn val="ctr"/>
        <c:lblOffset val="100"/>
        <c:noMultiLvlLbl val="0"/>
      </c:catAx>
      <c:valAx>
        <c:axId val="3595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95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es-MX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850768232154939"/>
          <c:y val="4.6159250118244666E-3"/>
          <c:w val="0.61405467299218608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GTM'!$Q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27413975073187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88B-48E8-9589-F54869BE2D8E}"/>
                </c:ext>
              </c:extLst>
            </c:dLbl>
            <c:dLbl>
              <c:idx val="1"/>
              <c:layout>
                <c:manualLayout>
                  <c:x val="1.884734901985015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8B-48E8-9589-F54869BE2D8E}"/>
                </c:ext>
              </c:extLst>
            </c:dLbl>
            <c:dLbl>
              <c:idx val="2"/>
              <c:layout>
                <c:manualLayout>
                  <c:x val="1.8847349019850159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88B-48E8-9589-F54869BE2D8E}"/>
                </c:ext>
              </c:extLst>
            </c:dLbl>
            <c:dLbl>
              <c:idx val="3"/>
              <c:layout>
                <c:manualLayout>
                  <c:x val="2.05607443852910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8B-48E8-9589-F54869BE2D8E}"/>
                </c:ext>
              </c:extLst>
            </c:dLbl>
            <c:dLbl>
              <c:idx val="4"/>
              <c:layout>
                <c:manualLayout>
                  <c:x val="2.3987535116172926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88B-48E8-9589-F54869BE2D8E}"/>
                </c:ext>
              </c:extLst>
            </c:dLbl>
            <c:dLbl>
              <c:idx val="5"/>
              <c:layout>
                <c:manualLayout>
                  <c:x val="2.0560744385291083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8B-48E8-9589-F54869BE2D8E}"/>
                </c:ext>
              </c:extLst>
            </c:dLbl>
            <c:dLbl>
              <c:idx val="6"/>
              <c:layout>
                <c:manualLayout>
                  <c:x val="1.8847349019850159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88B-48E8-9589-F54869BE2D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GTM'!$P$6:$P$15</c:f>
              <c:strCache>
                <c:ptCount val="10"/>
                <c:pt idx="0">
                  <c:v>PVIF Tonalá</c:v>
                </c:pt>
                <c:pt idx="1">
                  <c:v>OISA Puerto Progreso</c:v>
                </c:pt>
                <c:pt idx="2">
                  <c:v>Ciudad de México, DGSV</c:v>
                </c:pt>
                <c:pt idx="3">
                  <c:v>RE del SENASICA en Jalisco</c:v>
                </c:pt>
                <c:pt idx="4">
                  <c:v>RE del SENASICA Tuxtla Gutiérrez</c:v>
                </c:pt>
                <c:pt idx="5">
                  <c:v>OISA Mérida</c:v>
                </c:pt>
                <c:pt idx="6">
                  <c:v>Oficinas Centrales DGSV</c:v>
                </c:pt>
                <c:pt idx="7">
                  <c:v>OISA Torreón</c:v>
                </c:pt>
                <c:pt idx="8">
                  <c:v>OISA Puerto de Veracruz</c:v>
                </c:pt>
                <c:pt idx="9">
                  <c:v>RE del SENASICA en Sinaloa</c:v>
                </c:pt>
              </c:strCache>
            </c:strRef>
          </c:cat>
          <c:val>
            <c:numRef>
              <c:f>'ePHYTO GTM'!$Q$6:$Q$15</c:f>
              <c:numCache>
                <c:formatCode>General</c:formatCode>
                <c:ptCount val="10"/>
                <c:pt idx="0">
                  <c:v>476</c:v>
                </c:pt>
                <c:pt idx="1">
                  <c:v>120</c:v>
                </c:pt>
                <c:pt idx="2">
                  <c:v>112</c:v>
                </c:pt>
                <c:pt idx="3">
                  <c:v>83</c:v>
                </c:pt>
                <c:pt idx="4">
                  <c:v>36</c:v>
                </c:pt>
                <c:pt idx="5">
                  <c:v>19</c:v>
                </c:pt>
                <c:pt idx="6">
                  <c:v>16</c:v>
                </c:pt>
                <c:pt idx="7">
                  <c:v>11</c:v>
                </c:pt>
                <c:pt idx="8">
                  <c:v>9</c:v>
                </c:pt>
                <c:pt idx="9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88B-48E8-9589-F54869BE2D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6539516618705951"/>
          <c:y val="1.0580465006641011E-2"/>
          <c:w val="0.45872482995915426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785272281761124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E3B-4533-B11E-6657E22A121C}"/>
                </c:ext>
              </c:extLst>
            </c:dLbl>
            <c:dLbl>
              <c:idx val="1"/>
              <c:layout>
                <c:manualLayout>
                  <c:x val="9.4938634507338009E-3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3B-4533-B11E-6657E22A121C}"/>
                </c:ext>
              </c:extLst>
            </c:dLbl>
            <c:dLbl>
              <c:idx val="2"/>
              <c:layout>
                <c:manualLayout>
                  <c:x val="1.5190181521174082E-2"/>
                  <c:y val="4.767977571622259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E3B-4533-B11E-6657E22A121C}"/>
                </c:ext>
              </c:extLst>
            </c:dLbl>
            <c:dLbl>
              <c:idx val="3"/>
              <c:layout>
                <c:manualLayout>
                  <c:x val="1.5190181521174082E-2"/>
                  <c:y val="-2.60074508274869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E3B-4533-B11E-6657E22A121C}"/>
                </c:ext>
              </c:extLst>
            </c:dLbl>
            <c:dLbl>
              <c:idx val="4"/>
              <c:layout>
                <c:manualLayout>
                  <c:x val="9.4938634507337315E-3"/>
                  <c:y val="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E3B-4533-B11E-6657E22A121C}"/>
                </c:ext>
              </c:extLst>
            </c:dLbl>
            <c:dLbl>
              <c:idx val="5"/>
              <c:layout>
                <c:manualLayout>
                  <c:x val="1.5190181521174082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E3B-4533-B11E-6657E22A121C}"/>
                </c:ext>
              </c:extLst>
            </c:dLbl>
            <c:dLbl>
              <c:idx val="6"/>
              <c:layout>
                <c:manualLayout>
                  <c:x val="9.493863450733731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E3B-4533-B11E-6657E22A121C}"/>
                </c:ext>
              </c:extLst>
            </c:dLbl>
            <c:dLbl>
              <c:idx val="7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3B-4533-B11E-6657E22A121C}"/>
                </c:ext>
              </c:extLst>
            </c:dLbl>
            <c:dLbl>
              <c:idx val="8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E3B-4533-B11E-6657E22A121C}"/>
                </c:ext>
              </c:extLst>
            </c:dLbl>
            <c:dLbl>
              <c:idx val="9"/>
              <c:layout>
                <c:manualLayout>
                  <c:x val="1.139263614088056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3B-4533-B11E-6657E22A12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GTM'!$AF$6:$AF$15</c:f>
              <c:strCache>
                <c:ptCount val="10"/>
                <c:pt idx="0">
                  <c:v>GRUPO TRIMEX DEL SURESTE SA DE CV</c:v>
                </c:pt>
                <c:pt idx="1">
                  <c:v>HARINERA DE YUCATAN SA DE CV</c:v>
                </c:pt>
                <c:pt idx="2">
                  <c:v>COMERCIALIZADORA DE FRUTAS FINAS TARAHUMARA SA DE CV</c:v>
                </c:pt>
                <c:pt idx="3">
                  <c:v>CHAMPIÑONES MONTEBLANCO S DE RL DE CV</c:v>
                </c:pt>
                <c:pt idx="4">
                  <c:v>COMERCIALIZADORA MAYORISTA DEL GOLFO SA DE CV</c:v>
                </c:pt>
                <c:pt idx="5">
                  <c:v>MOLINOS AZTECA DE CHIAPAS SA DE CV</c:v>
                </c:pt>
                <c:pt idx="6">
                  <c:v>SYNGENTA AGRO SA DE CV</c:v>
                </c:pt>
                <c:pt idx="7">
                  <c:v>P.H.I. MEXICO SA DE CV</c:v>
                </c:pt>
                <c:pt idx="8">
                  <c:v>MUNSA MOLINOS SA DE CV</c:v>
                </c:pt>
                <c:pt idx="9">
                  <c:v>PRODUCTOS ALIMENTICIOS DEL CAMPO GR SA DE CV</c:v>
                </c:pt>
              </c:strCache>
            </c:strRef>
          </c:cat>
          <c:val>
            <c:numRef>
              <c:f>'ePHYTO GTM'!$AG$6:$AG$15</c:f>
              <c:numCache>
                <c:formatCode>General</c:formatCode>
                <c:ptCount val="10"/>
                <c:pt idx="0">
                  <c:v>475</c:v>
                </c:pt>
                <c:pt idx="1">
                  <c:v>104</c:v>
                </c:pt>
                <c:pt idx="2">
                  <c:v>75</c:v>
                </c:pt>
                <c:pt idx="3">
                  <c:v>56</c:v>
                </c:pt>
                <c:pt idx="4">
                  <c:v>35</c:v>
                </c:pt>
                <c:pt idx="5">
                  <c:v>34</c:v>
                </c:pt>
                <c:pt idx="6">
                  <c:v>33</c:v>
                </c:pt>
                <c:pt idx="7">
                  <c:v>19</c:v>
                </c:pt>
                <c:pt idx="8">
                  <c:v>19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E3B-4533-B11E-6657E22A121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2.3275146688405014E-3"/>
                  <c:y val="-1.87498153838538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396-4F0B-9DFE-21477EA5A5DB}"/>
                </c:ext>
              </c:extLst>
            </c:dLbl>
            <c:dLbl>
              <c:idx val="1"/>
              <c:layout>
                <c:manualLayout>
                  <c:x val="0"/>
                  <c:y val="-2.9398075521375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396-4F0B-9DFE-21477EA5A5DB}"/>
                </c:ext>
              </c:extLst>
            </c:dLbl>
            <c:dLbl>
              <c:idx val="2"/>
              <c:layout>
                <c:manualLayout>
                  <c:x val="-2.3275146688404797E-3"/>
                  <c:y val="-1.68981985988066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396-4F0B-9DFE-21477EA5A5DB}"/>
                </c:ext>
              </c:extLst>
            </c:dLbl>
            <c:dLbl>
              <c:idx val="3"/>
              <c:layout>
                <c:manualLayout>
                  <c:x val="-2.3349253724758382E-3"/>
                  <c:y val="-1.3505221841878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396-4F0B-9DFE-21477EA5A5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ePhyto COSTA RICA'!$A$7:$B$12</c:f>
              <c:multiLvlStrCache>
                <c:ptCount val="6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</c:lvl>
                <c:lvl>
                  <c:pt idx="0">
                    <c:v>2023</c:v>
                  </c:pt>
                  <c:pt idx="5">
                    <c:v>2024</c:v>
                  </c:pt>
                </c:lvl>
              </c:multiLvlStrCache>
            </c:multiLvlStrRef>
          </c:cat>
          <c:val>
            <c:numRef>
              <c:f>'ePhyto COSTA RICA'!$C$7:$C$12</c:f>
              <c:numCache>
                <c:formatCode>General</c:formatCode>
                <c:ptCount val="6"/>
                <c:pt idx="0">
                  <c:v>15</c:v>
                </c:pt>
                <c:pt idx="1">
                  <c:v>23</c:v>
                </c:pt>
                <c:pt idx="2">
                  <c:v>19</c:v>
                </c:pt>
                <c:pt idx="3">
                  <c:v>28</c:v>
                </c:pt>
                <c:pt idx="4">
                  <c:v>35</c:v>
                </c:pt>
                <c:pt idx="5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96-4F0B-9DFE-21477EA5A5D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35950336"/>
        <c:axId val="35952416"/>
        <c:axId val="0"/>
      </c:bar3DChart>
      <c:catAx>
        <c:axId val="3595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5952416"/>
        <c:crosses val="autoZero"/>
        <c:auto val="1"/>
        <c:lblAlgn val="ctr"/>
        <c:lblOffset val="100"/>
        <c:noMultiLvlLbl val="0"/>
      </c:catAx>
      <c:valAx>
        <c:axId val="3595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95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es-MX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850768232154939"/>
          <c:y val="4.6159250118244666E-3"/>
          <c:w val="0.61405467299218608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COSTA RICA'!$Q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005EA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27413975073187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27-420E-B4C1-E75688E37B90}"/>
                </c:ext>
              </c:extLst>
            </c:dLbl>
            <c:dLbl>
              <c:idx val="1"/>
              <c:layout>
                <c:manualLayout>
                  <c:x val="1.884734901985015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27-420E-B4C1-E75688E37B90}"/>
                </c:ext>
              </c:extLst>
            </c:dLbl>
            <c:dLbl>
              <c:idx val="2"/>
              <c:layout>
                <c:manualLayout>
                  <c:x val="1.8847349019850159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C27-420E-B4C1-E75688E37B90}"/>
                </c:ext>
              </c:extLst>
            </c:dLbl>
            <c:dLbl>
              <c:idx val="3"/>
              <c:layout>
                <c:manualLayout>
                  <c:x val="2.05607443852910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C27-420E-B4C1-E75688E37B90}"/>
                </c:ext>
              </c:extLst>
            </c:dLbl>
            <c:dLbl>
              <c:idx val="4"/>
              <c:layout>
                <c:manualLayout>
                  <c:x val="2.3987535116172926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C27-420E-B4C1-E75688E37B90}"/>
                </c:ext>
              </c:extLst>
            </c:dLbl>
            <c:dLbl>
              <c:idx val="5"/>
              <c:layout>
                <c:manualLayout>
                  <c:x val="2.0560744385291083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C27-420E-B4C1-E75688E37B90}"/>
                </c:ext>
              </c:extLst>
            </c:dLbl>
            <c:dLbl>
              <c:idx val="6"/>
              <c:layout>
                <c:manualLayout>
                  <c:x val="1.8847349019850159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C27-420E-B4C1-E75688E37B90}"/>
                </c:ext>
              </c:extLst>
            </c:dLbl>
            <c:dLbl>
              <c:idx val="7"/>
              <c:layout>
                <c:manualLayout>
                  <c:x val="7.4948819398720709E-3"/>
                  <c:y val="9.565455324515879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27-420E-B4C1-E75688E37B90}"/>
                </c:ext>
              </c:extLst>
            </c:dLbl>
            <c:dLbl>
              <c:idx val="8"/>
              <c:layout>
                <c:manualLayout>
                  <c:x val="9.9931759198295493E-3"/>
                  <c:y val="9.565455324515879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C27-420E-B4C1-E75688E37B90}"/>
                </c:ext>
              </c:extLst>
            </c:dLbl>
            <c:dLbl>
              <c:idx val="9"/>
              <c:layout>
                <c:manualLayout>
                  <c:x val="7.49488193987216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C27-420E-B4C1-E75688E37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COSTA RICA'!$P$6:$P$15</c:f>
              <c:strCache>
                <c:ptCount val="10"/>
                <c:pt idx="0">
                  <c:v>MCF OPOPEO</c:v>
                </c:pt>
                <c:pt idx="1">
                  <c:v>Oficinas Centrales DGSV</c:v>
                </c:pt>
                <c:pt idx="2">
                  <c:v>MCF IV. Tinguindín</c:v>
                </c:pt>
                <c:pt idx="3">
                  <c:v>RE del SENASICA en Sinaloa</c:v>
                </c:pt>
                <c:pt idx="4">
                  <c:v>OISA Mazatlán</c:v>
                </c:pt>
                <c:pt idx="5">
                  <c:v>MCF Uruapan, Michoacán</c:v>
                </c:pt>
                <c:pt idx="6">
                  <c:v>OISA Torreón</c:v>
                </c:pt>
                <c:pt idx="7">
                  <c:v>RE del SENASICA en Jalisco</c:v>
                </c:pt>
                <c:pt idx="8">
                  <c:v>MCF Cd. Guzmán, Jal</c:v>
                </c:pt>
                <c:pt idx="9">
                  <c:v>MCF Tancítaro</c:v>
                </c:pt>
              </c:strCache>
            </c:strRef>
          </c:cat>
          <c:val>
            <c:numRef>
              <c:f>'ePhyto COSTA RICA'!$Q$6:$Q$15</c:f>
              <c:numCache>
                <c:formatCode>General</c:formatCode>
                <c:ptCount val="10"/>
                <c:pt idx="0">
                  <c:v>39</c:v>
                </c:pt>
                <c:pt idx="1">
                  <c:v>20</c:v>
                </c:pt>
                <c:pt idx="2">
                  <c:v>16</c:v>
                </c:pt>
                <c:pt idx="3">
                  <c:v>12</c:v>
                </c:pt>
                <c:pt idx="4">
                  <c:v>12</c:v>
                </c:pt>
                <c:pt idx="5">
                  <c:v>9</c:v>
                </c:pt>
                <c:pt idx="6">
                  <c:v>9</c:v>
                </c:pt>
                <c:pt idx="7">
                  <c:v>7</c:v>
                </c:pt>
                <c:pt idx="8">
                  <c:v>7</c:v>
                </c:pt>
                <c:pt idx="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C27-420E-B4C1-E75688E37B9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2816613934817471"/>
          <c:y val="1.0580465006641011E-2"/>
          <c:w val="0.53928209348211142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005EA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785272281761124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065-4C88-B174-2AC8A89A6FB7}"/>
                </c:ext>
              </c:extLst>
            </c:dLbl>
            <c:dLbl>
              <c:idx val="1"/>
              <c:layout>
                <c:manualLayout>
                  <c:x val="9.4938634507338009E-3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65-4C88-B174-2AC8A89A6FB7}"/>
                </c:ext>
              </c:extLst>
            </c:dLbl>
            <c:dLbl>
              <c:idx val="2"/>
              <c:layout>
                <c:manualLayout>
                  <c:x val="1.5190181521174082E-2"/>
                  <c:y val="4.767977571622259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065-4C88-B174-2AC8A89A6FB7}"/>
                </c:ext>
              </c:extLst>
            </c:dLbl>
            <c:dLbl>
              <c:idx val="3"/>
              <c:layout>
                <c:manualLayout>
                  <c:x val="1.5190181521174082E-2"/>
                  <c:y val="-2.60074508274869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65-4C88-B174-2AC8A89A6FB7}"/>
                </c:ext>
              </c:extLst>
            </c:dLbl>
            <c:dLbl>
              <c:idx val="4"/>
              <c:layout>
                <c:manualLayout>
                  <c:x val="9.4938634507337315E-3"/>
                  <c:y val="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065-4C88-B174-2AC8A89A6FB7}"/>
                </c:ext>
              </c:extLst>
            </c:dLbl>
            <c:dLbl>
              <c:idx val="5"/>
              <c:layout>
                <c:manualLayout>
                  <c:x val="1.5190181521174082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065-4C88-B174-2AC8A89A6FB7}"/>
                </c:ext>
              </c:extLst>
            </c:dLbl>
            <c:dLbl>
              <c:idx val="6"/>
              <c:layout>
                <c:manualLayout>
                  <c:x val="9.493863450733731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065-4C88-B174-2AC8A89A6FB7}"/>
                </c:ext>
              </c:extLst>
            </c:dLbl>
            <c:dLbl>
              <c:idx val="7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065-4C88-B174-2AC8A89A6FB7}"/>
                </c:ext>
              </c:extLst>
            </c:dLbl>
            <c:dLbl>
              <c:idx val="8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065-4C88-B174-2AC8A89A6FB7}"/>
                </c:ext>
              </c:extLst>
            </c:dLbl>
            <c:dLbl>
              <c:idx val="9"/>
              <c:layout>
                <c:manualLayout>
                  <c:x val="1.139263614088056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065-4C88-B174-2AC8A89A6F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COSTA RICA'!$AF$6:$AF$15</c:f>
              <c:strCache>
                <c:ptCount val="10"/>
                <c:pt idx="0">
                  <c:v>COMERCIALIZADORA FRUFIVA SA DE CV</c:v>
                </c:pt>
                <c:pt idx="1">
                  <c:v>PRODUCTOS ALIMENTICIOS DEL CAMPO GR SA DE CV</c:v>
                </c:pt>
                <c:pt idx="2">
                  <c:v>FRONTERRA AVOCADOS SA DE CV</c:v>
                </c:pt>
                <c:pt idx="3">
                  <c:v>GRANOS LA MACARENA SA DE CV</c:v>
                </c:pt>
                <c:pt idx="4">
                  <c:v>AGROINDUSTRIAS DE MICHOACAN SA DE CV</c:v>
                </c:pt>
                <c:pt idx="5">
                  <c:v>FRUTAS FINAS SANCHEZ HNOS SA DE CV</c:v>
                </c:pt>
                <c:pt idx="6">
                  <c:v>COMERCIALIZADORA DE FRUTAS FINAS TARAHUMARA SA DE CV</c:v>
                </c:pt>
                <c:pt idx="7">
                  <c:v>JG MARROQUIN COMPANY S DE RL DE CV</c:v>
                </c:pt>
                <c:pt idx="8">
                  <c:v>ECINT SA DE CV</c:v>
                </c:pt>
                <c:pt idx="9">
                  <c:v>DISTRIBUIDORA AGRICOLA LA VIÑA SA DE CV</c:v>
                </c:pt>
              </c:strCache>
            </c:strRef>
          </c:cat>
          <c:val>
            <c:numRef>
              <c:f>'ePhyto COSTA RICA'!$AG$6:$AG$15</c:f>
              <c:numCache>
                <c:formatCode>General</c:formatCode>
                <c:ptCount val="10"/>
                <c:pt idx="0">
                  <c:v>28</c:v>
                </c:pt>
                <c:pt idx="1">
                  <c:v>17</c:v>
                </c:pt>
                <c:pt idx="2">
                  <c:v>15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7</c:v>
                </c:pt>
                <c:pt idx="7">
                  <c:v>7</c:v>
                </c:pt>
                <c:pt idx="8">
                  <c:v>6</c:v>
                </c:pt>
                <c:pt idx="9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065-4C88-B174-2AC8A89A6F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1308303452476986"/>
          <c:w val="1"/>
          <c:h val="0.74729526484562825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rgbClr val="235B4E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UCEM!$A$5:$A$16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ENE 2024</c:v>
                </c:pt>
              </c:strCache>
            </c:strRef>
          </c:cat>
          <c:val>
            <c:numRef>
              <c:f>VUCEM!$B$5:$B$16</c:f>
              <c:numCache>
                <c:formatCode>_-* #,##0_-;\-* #,##0_-;_-* "-"??_-;_-@_-</c:formatCode>
                <c:ptCount val="12"/>
                <c:pt idx="0">
                  <c:v>15</c:v>
                </c:pt>
                <c:pt idx="1">
                  <c:v>6</c:v>
                </c:pt>
                <c:pt idx="2">
                  <c:v>1</c:v>
                </c:pt>
                <c:pt idx="3">
                  <c:v>52</c:v>
                </c:pt>
                <c:pt idx="4">
                  <c:v>38</c:v>
                </c:pt>
                <c:pt idx="5">
                  <c:v>510</c:v>
                </c:pt>
                <c:pt idx="6">
                  <c:v>954</c:v>
                </c:pt>
                <c:pt idx="7">
                  <c:v>3439</c:v>
                </c:pt>
                <c:pt idx="8">
                  <c:v>8264</c:v>
                </c:pt>
                <c:pt idx="9">
                  <c:v>29446</c:v>
                </c:pt>
                <c:pt idx="10">
                  <c:v>55526</c:v>
                </c:pt>
                <c:pt idx="11">
                  <c:v>7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5D-4004-8B42-114D5627F6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1"/>
        <c:gapDepth val="0"/>
        <c:shape val="box"/>
        <c:axId val="1490056272"/>
        <c:axId val="1490042960"/>
        <c:axId val="0"/>
      </c:bar3DChart>
      <c:catAx>
        <c:axId val="149005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0042960"/>
        <c:crosses val="autoZero"/>
        <c:auto val="1"/>
        <c:lblAlgn val="ctr"/>
        <c:lblOffset val="100"/>
        <c:noMultiLvlLbl val="0"/>
      </c:catAx>
      <c:valAx>
        <c:axId val="1490042960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4900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4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7001962120435141"/>
          <c:y val="2.1922411923532368E-2"/>
          <c:w val="0.70252654531095482"/>
          <c:h val="0.95615517615293522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FD59-495C-B3B6-C34CA5DE619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FD59-495C-B3B6-C34CA5DE619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FD59-495C-B3B6-C34CA5DE619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FD59-495C-B3B6-C34CA5DE619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FD59-495C-B3B6-C34CA5DE619D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FD59-495C-B3B6-C34CA5DE619D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FD59-495C-B3B6-C34CA5DE619D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FD59-495C-B3B6-C34CA5DE619D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FD59-495C-B3B6-C34CA5DE619D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FD59-495C-B3B6-C34CA5DE619D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FD59-495C-B3B6-C34CA5DE619D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FD59-495C-B3B6-C34CA5DE619D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FD59-495C-B3B6-C34CA5DE619D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FD59-495C-B3B6-C34CA5DE619D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FD59-495C-B3B6-C34CA5DE619D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FD59-495C-B3B6-C34CA5DE619D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FD59-495C-B3B6-C34CA5DE619D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FD59-495C-B3B6-C34CA5DE619D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FD59-495C-B3B6-C34CA5DE619D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FD59-495C-B3B6-C34CA5DE619D}"/>
              </c:ext>
            </c:extLst>
          </c:dPt>
          <c:dLbls>
            <c:dLbl>
              <c:idx val="0"/>
              <c:layout>
                <c:manualLayout>
                  <c:x val="4.6211070740338374E-2"/>
                  <c:y val="1.582403420592203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59-495C-B3B6-C34CA5DE619D}"/>
                </c:ext>
              </c:extLst>
            </c:dLbl>
            <c:dLbl>
              <c:idx val="1"/>
              <c:layout>
                <c:manualLayout>
                  <c:x val="4.6438531635438922E-2"/>
                  <c:y val="2.25244584567027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D59-495C-B3B6-C34CA5DE619D}"/>
                </c:ext>
              </c:extLst>
            </c:dLbl>
            <c:dLbl>
              <c:idx val="2"/>
              <c:layout>
                <c:manualLayout>
                  <c:x val="5.2311922625825923E-2"/>
                  <c:y val="1.5858944206648386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59-495C-B3B6-C34CA5DE619D}"/>
                </c:ext>
              </c:extLst>
            </c:dLbl>
            <c:dLbl>
              <c:idx val="3"/>
              <c:layout>
                <c:manualLayout>
                  <c:x val="5.2311922625825867E-2"/>
                  <c:y val="2.014244503686411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59-495C-B3B6-C34CA5DE619D}"/>
                </c:ext>
              </c:extLst>
            </c:dLbl>
            <c:dLbl>
              <c:idx val="4"/>
              <c:layout>
                <c:manualLayout>
                  <c:x val="5.5438248930609536E-2"/>
                  <c:y val="1.5858944206648386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59-495C-B3B6-C34CA5DE619D}"/>
                </c:ext>
              </c:extLst>
            </c:dLbl>
            <c:dLbl>
              <c:idx val="5"/>
              <c:layout>
                <c:manualLayout>
                  <c:x val="1.875732477224743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59-495C-B3B6-C34CA5DE619D}"/>
                </c:ext>
              </c:extLst>
            </c:dLbl>
            <c:dLbl>
              <c:idx val="6"/>
              <c:layout>
                <c:manualLayout>
                  <c:x val="2.50097663629965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59-495C-B3B6-C34CA5DE619D}"/>
                </c:ext>
              </c:extLst>
            </c:dLbl>
            <c:dLbl>
              <c:idx val="7"/>
              <c:layout>
                <c:manualLayout>
                  <c:x val="3.1262207953745715E-2"/>
                  <c:y val="8.258161394731597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59-495C-B3B6-C34CA5DE619D}"/>
                </c:ext>
              </c:extLst>
            </c:dLbl>
            <c:dLbl>
              <c:idx val="8"/>
              <c:layout>
                <c:manualLayout>
                  <c:x val="1.875732477224748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59-495C-B3B6-C34CA5DE619D}"/>
                </c:ext>
              </c:extLst>
            </c:dLbl>
            <c:dLbl>
              <c:idx val="9"/>
              <c:layout>
                <c:manualLayout>
                  <c:x val="1.875732477224748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59-495C-B3B6-C34CA5DE619D}"/>
                </c:ext>
              </c:extLst>
            </c:dLbl>
            <c:dLbl>
              <c:idx val="10"/>
              <c:layout>
                <c:manualLayout>
                  <c:x val="1.2504883181498287E-2"/>
                  <c:y val="1.99876643060762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D59-495C-B3B6-C34CA5DE61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UCEM!$AA$6:$AA$10</c:f>
              <c:strCache>
                <c:ptCount val="5"/>
                <c:pt idx="0">
                  <c:v>Aguacate</c:v>
                </c:pt>
                <c:pt idx="1">
                  <c:v>Maíz</c:v>
                </c:pt>
                <c:pt idx="2">
                  <c:v>Café</c:v>
                </c:pt>
                <c:pt idx="3">
                  <c:v>Pimienta</c:v>
                </c:pt>
                <c:pt idx="4">
                  <c:v>Brachiaria</c:v>
                </c:pt>
              </c:strCache>
            </c:strRef>
          </c:cat>
          <c:val>
            <c:numRef>
              <c:f>VUCEM!$AB$6:$AB$10</c:f>
              <c:numCache>
                <c:formatCode>General</c:formatCode>
                <c:ptCount val="5"/>
                <c:pt idx="0">
                  <c:v>23</c:v>
                </c:pt>
                <c:pt idx="1">
                  <c:v>11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FD59-495C-B3B6-C34CA5DE61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5"/>
        <c:gapDepth val="0"/>
        <c:shape val="box"/>
        <c:axId val="1314563104"/>
        <c:axId val="1314550624"/>
        <c:axId val="0"/>
      </c:bar3DChart>
      <c:catAx>
        <c:axId val="13145631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14550624"/>
        <c:crosses val="autoZero"/>
        <c:auto val="1"/>
        <c:lblAlgn val="ctr"/>
        <c:lblOffset val="100"/>
        <c:noMultiLvlLbl val="0"/>
      </c:catAx>
      <c:valAx>
        <c:axId val="131455062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1456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39242868930422"/>
          <c:y val="0.13418443756254711"/>
          <c:w val="0.78536364638825196"/>
          <c:h val="0.75143285035026386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E67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94-4B9F-859F-E25CDA8ACFFB}"/>
              </c:ext>
            </c:extLst>
          </c:dPt>
          <c:dPt>
            <c:idx val="1"/>
            <c:bubble3D val="0"/>
            <c:spPr>
              <a:solidFill>
                <a:srgbClr val="FF292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94-4B9F-859F-E25CDA8ACFFB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94-4B9F-859F-E25CDA8ACFFB}"/>
              </c:ext>
            </c:extLst>
          </c:dPt>
          <c:dLbls>
            <c:dLbl>
              <c:idx val="0"/>
              <c:layout>
                <c:manualLayout>
                  <c:x val="0.18241329133597919"/>
                  <c:y val="2.4752481679915197E-2"/>
                </c:manualLayout>
              </c:layout>
              <c:tx>
                <c:rich>
                  <a:bodyPr/>
                  <a:lstStyle/>
                  <a:p>
                    <a:fld id="{82D20859-A38A-4E6E-934C-17BB8362801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4476E4A5-B34F-4CE8-AE36-23C9BD176E50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475121738723364"/>
                      <c:h val="0.1502640654515385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394-4B9F-859F-E25CDA8ACFFB}"/>
                </c:ext>
              </c:extLst>
            </c:dLbl>
            <c:dLbl>
              <c:idx val="1"/>
              <c:layout>
                <c:manualLayout>
                  <c:x val="-0.3057861664539181"/>
                  <c:y val="3.3003308906553605E-2"/>
                </c:manualLayout>
              </c:layout>
              <c:tx>
                <c:rich>
                  <a:bodyPr/>
                  <a:lstStyle/>
                  <a:p>
                    <a:fld id="{452452F3-DBF9-4980-B1BD-16EE1D9D78E1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9AD349D3-4F99-4E5A-BB5E-36C6E437CFA4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638047236642134"/>
                      <c:h val="0.140363072779572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394-4B9F-859F-E25CDA8ACFFB}"/>
                </c:ext>
              </c:extLst>
            </c:dLbl>
            <c:dLbl>
              <c:idx val="2"/>
              <c:layout>
                <c:manualLayout>
                  <c:x val="-0.1461873416015706"/>
                  <c:y val="-0.15841588275145724"/>
                </c:manualLayout>
              </c:layout>
              <c:tx>
                <c:rich>
                  <a:bodyPr/>
                  <a:lstStyle/>
                  <a:p>
                    <a:fld id="{85712152-3EDE-46B2-ABA4-DD8D02DB634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2BF59670-D901-45C7-8382-968754CABDE7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394-4B9F-859F-E25CDA8ACF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ePHYTO Alianza del Pacífico'!$B$104:$B$106</c:f>
              <c:strCache>
                <c:ptCount val="3"/>
                <c:pt idx="0">
                  <c:v>Chile</c:v>
                </c:pt>
                <c:pt idx="1">
                  <c:v>Perú</c:v>
                </c:pt>
                <c:pt idx="2">
                  <c:v>Colombia</c:v>
                </c:pt>
              </c:strCache>
            </c:strRef>
          </c:cat>
          <c:val>
            <c:numRef>
              <c:f>'ePHYTO Alianza del Pacífico'!$E$104:$E$106</c:f>
              <c:numCache>
                <c:formatCode>#,##0</c:formatCode>
                <c:ptCount val="3"/>
                <c:pt idx="0">
                  <c:v>1083</c:v>
                </c:pt>
                <c:pt idx="1">
                  <c:v>1244</c:v>
                </c:pt>
                <c:pt idx="2">
                  <c:v>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394-4B9F-859F-E25CDA8ACFF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3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 b="1"/>
      </a:pPr>
      <a:endParaRPr lang="es-MX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tx1">
            <a:lumMod val="65000"/>
            <a:lumOff val="3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1272920017376581"/>
          <c:y val="0.12234239116396295"/>
          <c:w val="0.7325808900414772"/>
          <c:h val="0.84165152769397544"/>
        </c:manualLayout>
      </c:layout>
      <c:bar3DChart>
        <c:barDir val="bar"/>
        <c:grouping val="clustered"/>
        <c:varyColors val="0"/>
        <c:ser>
          <c:idx val="0"/>
          <c:order val="0"/>
          <c:tx>
            <c:v>Importaciones</c:v>
          </c:tx>
          <c:spPr>
            <a:solidFill>
              <a:srgbClr val="FF99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$88:$B$97</c:f>
              <c:strCache>
                <c:ptCount val="10"/>
                <c:pt idx="0">
                  <c:v>2019 Ago-Dic</c:v>
                </c:pt>
                <c:pt idx="1">
                  <c:v>2020 Ene-Jun</c:v>
                </c:pt>
                <c:pt idx="2">
                  <c:v>2020 Jul-Dic</c:v>
                </c:pt>
                <c:pt idx="3">
                  <c:v>2021 Ene-Jun</c:v>
                </c:pt>
                <c:pt idx="4">
                  <c:v>2021 Jul-Dic</c:v>
                </c:pt>
                <c:pt idx="5">
                  <c:v>2022 Ene-Jun</c:v>
                </c:pt>
                <c:pt idx="6">
                  <c:v>2022 Jul- Dic</c:v>
                </c:pt>
                <c:pt idx="7">
                  <c:v>2023 Ene-Jun</c:v>
                </c:pt>
                <c:pt idx="8">
                  <c:v>2023 Jul-Dic</c:v>
                </c:pt>
                <c:pt idx="9">
                  <c:v>2024 Ene</c:v>
                </c:pt>
              </c:strCache>
            </c:strRef>
          </c:cat>
          <c:val>
            <c:numRef>
              <c:f>'ePHYTO Alianza del Pacífico'!$I$88:$I$97</c:f>
              <c:numCache>
                <c:formatCode>#,##0</c:formatCode>
                <c:ptCount val="10"/>
                <c:pt idx="0">
                  <c:v>1858</c:v>
                </c:pt>
                <c:pt idx="1">
                  <c:v>3504</c:v>
                </c:pt>
                <c:pt idx="2">
                  <c:v>2319</c:v>
                </c:pt>
                <c:pt idx="3">
                  <c:v>3584</c:v>
                </c:pt>
                <c:pt idx="4">
                  <c:v>2551</c:v>
                </c:pt>
                <c:pt idx="5">
                  <c:v>4539</c:v>
                </c:pt>
                <c:pt idx="6">
                  <c:v>3078</c:v>
                </c:pt>
                <c:pt idx="7">
                  <c:v>4988</c:v>
                </c:pt>
                <c:pt idx="8">
                  <c:v>3806</c:v>
                </c:pt>
                <c:pt idx="9">
                  <c:v>7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E8-44F2-A41D-BE7641CC0CB2}"/>
            </c:ext>
          </c:extLst>
        </c:ser>
        <c:ser>
          <c:idx val="1"/>
          <c:order val="1"/>
          <c:tx>
            <c:v>Exportaciones</c:v>
          </c:tx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dLbl>
              <c:idx val="4"/>
              <c:layout>
                <c:manualLayout>
                  <c:x val="-1.0208614521941594E-3"/>
                  <c:y val="-1.31934501714568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E8-44F2-A41D-BE7641CC0C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$88:$B$97</c:f>
              <c:strCache>
                <c:ptCount val="10"/>
                <c:pt idx="0">
                  <c:v>2019 Ago-Dic</c:v>
                </c:pt>
                <c:pt idx="1">
                  <c:v>2020 Ene-Jun</c:v>
                </c:pt>
                <c:pt idx="2">
                  <c:v>2020 Jul-Dic</c:v>
                </c:pt>
                <c:pt idx="3">
                  <c:v>2021 Ene-Jun</c:v>
                </c:pt>
                <c:pt idx="4">
                  <c:v>2021 Jul-Dic</c:v>
                </c:pt>
                <c:pt idx="5">
                  <c:v>2022 Ene-Jun</c:v>
                </c:pt>
                <c:pt idx="6">
                  <c:v>2022 Jul- Dic</c:v>
                </c:pt>
                <c:pt idx="7">
                  <c:v>2023 Ene-Jun</c:v>
                </c:pt>
                <c:pt idx="8">
                  <c:v>2023 Jul-Dic</c:v>
                </c:pt>
                <c:pt idx="9">
                  <c:v>2024 Ene</c:v>
                </c:pt>
              </c:strCache>
            </c:strRef>
          </c:cat>
          <c:val>
            <c:numRef>
              <c:f>'ePHYTO Alianza del Pacífico'!$J$88:$J$97</c:f>
              <c:numCache>
                <c:formatCode>#,##0</c:formatCode>
                <c:ptCount val="10"/>
                <c:pt idx="0">
                  <c:v>238</c:v>
                </c:pt>
                <c:pt idx="1">
                  <c:v>377</c:v>
                </c:pt>
                <c:pt idx="2">
                  <c:v>401</c:v>
                </c:pt>
                <c:pt idx="3">
                  <c:v>448</c:v>
                </c:pt>
                <c:pt idx="4">
                  <c:v>313</c:v>
                </c:pt>
                <c:pt idx="5">
                  <c:v>254</c:v>
                </c:pt>
                <c:pt idx="6">
                  <c:v>293</c:v>
                </c:pt>
                <c:pt idx="7">
                  <c:v>389</c:v>
                </c:pt>
                <c:pt idx="8">
                  <c:v>348</c:v>
                </c:pt>
                <c:pt idx="9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E8-44F2-A41D-BE7641CC0C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663027583"/>
        <c:axId val="663030911"/>
        <c:axId val="0"/>
      </c:bar3DChart>
      <c:catAx>
        <c:axId val="663027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663030911"/>
        <c:crosses val="autoZero"/>
        <c:auto val="1"/>
        <c:lblAlgn val="ctr"/>
        <c:lblOffset val="100"/>
        <c:noMultiLvlLbl val="0"/>
      </c:catAx>
      <c:valAx>
        <c:axId val="663030911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663027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456399369801913E-2"/>
          <c:y val="6.4814814814814811E-2"/>
          <c:w val="0.95374168521708158"/>
          <c:h val="0.695501603966170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PHYTO Alianza del Pacífico'!$AA$115</c:f>
              <c:strCache>
                <c:ptCount val="1"/>
                <c:pt idx="0">
                  <c:v>Chile</c:v>
                </c:pt>
              </c:strCache>
            </c:strRef>
          </c:tx>
          <c:spPr>
            <a:solidFill>
              <a:srgbClr val="0E67A6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23:$Z$176</c:f>
              <c:multiLvlStrCache>
                <c:ptCount val="54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  <c:pt idx="51">
                    <c:v>Nov</c:v>
                  </c:pt>
                  <c:pt idx="52">
                    <c:v>Dic</c:v>
                  </c:pt>
                  <c:pt idx="53">
                    <c:v>Ene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  <c:pt idx="53">
                    <c:v>2024</c:v>
                  </c:pt>
                </c:lvl>
              </c:multiLvlStrCache>
            </c:multiLvlStrRef>
          </c:cat>
          <c:val>
            <c:numRef>
              <c:f>'ePHYTO Alianza del Pacífico'!$AA$123:$AA$176</c:f>
              <c:numCache>
                <c:formatCode>General</c:formatCode>
                <c:ptCount val="54"/>
                <c:pt idx="0">
                  <c:v>15</c:v>
                </c:pt>
                <c:pt idx="1">
                  <c:v>9</c:v>
                </c:pt>
                <c:pt idx="2">
                  <c:v>18</c:v>
                </c:pt>
                <c:pt idx="3">
                  <c:v>18</c:v>
                </c:pt>
                <c:pt idx="4">
                  <c:v>5</c:v>
                </c:pt>
                <c:pt idx="5">
                  <c:v>5</c:v>
                </c:pt>
                <c:pt idx="6">
                  <c:v>14</c:v>
                </c:pt>
                <c:pt idx="7">
                  <c:v>18</c:v>
                </c:pt>
                <c:pt idx="8">
                  <c:v>7</c:v>
                </c:pt>
                <c:pt idx="9">
                  <c:v>17</c:v>
                </c:pt>
                <c:pt idx="10">
                  <c:v>10</c:v>
                </c:pt>
                <c:pt idx="11">
                  <c:v>30</c:v>
                </c:pt>
                <c:pt idx="12">
                  <c:v>20</c:v>
                </c:pt>
                <c:pt idx="13">
                  <c:v>12</c:v>
                </c:pt>
                <c:pt idx="14">
                  <c:v>16</c:v>
                </c:pt>
                <c:pt idx="15">
                  <c:v>19</c:v>
                </c:pt>
                <c:pt idx="16">
                  <c:v>117</c:v>
                </c:pt>
                <c:pt idx="17">
                  <c:v>131</c:v>
                </c:pt>
                <c:pt idx="18">
                  <c:v>33</c:v>
                </c:pt>
                <c:pt idx="19">
                  <c:v>26</c:v>
                </c:pt>
                <c:pt idx="20">
                  <c:v>10</c:v>
                </c:pt>
                <c:pt idx="21">
                  <c:v>17</c:v>
                </c:pt>
                <c:pt idx="22">
                  <c:v>9</c:v>
                </c:pt>
                <c:pt idx="23">
                  <c:v>16</c:v>
                </c:pt>
                <c:pt idx="24">
                  <c:v>7</c:v>
                </c:pt>
                <c:pt idx="25">
                  <c:v>11</c:v>
                </c:pt>
                <c:pt idx="26">
                  <c:v>12</c:v>
                </c:pt>
                <c:pt idx="27">
                  <c:v>25</c:v>
                </c:pt>
                <c:pt idx="28">
                  <c:v>15</c:v>
                </c:pt>
                <c:pt idx="29">
                  <c:v>8</c:v>
                </c:pt>
                <c:pt idx="30">
                  <c:v>11</c:v>
                </c:pt>
                <c:pt idx="31">
                  <c:v>7</c:v>
                </c:pt>
                <c:pt idx="32">
                  <c:v>14</c:v>
                </c:pt>
                <c:pt idx="33">
                  <c:v>20</c:v>
                </c:pt>
                <c:pt idx="34">
                  <c:v>22</c:v>
                </c:pt>
                <c:pt idx="35">
                  <c:v>22</c:v>
                </c:pt>
                <c:pt idx="36">
                  <c:v>22</c:v>
                </c:pt>
                <c:pt idx="37">
                  <c:v>11</c:v>
                </c:pt>
                <c:pt idx="38">
                  <c:v>7</c:v>
                </c:pt>
                <c:pt idx="39">
                  <c:v>12</c:v>
                </c:pt>
                <c:pt idx="40">
                  <c:v>12</c:v>
                </c:pt>
                <c:pt idx="41">
                  <c:v>7</c:v>
                </c:pt>
                <c:pt idx="42">
                  <c:v>34</c:v>
                </c:pt>
                <c:pt idx="43">
                  <c:v>16</c:v>
                </c:pt>
                <c:pt idx="44">
                  <c:v>11</c:v>
                </c:pt>
                <c:pt idx="45">
                  <c:v>15</c:v>
                </c:pt>
                <c:pt idx="46">
                  <c:v>26</c:v>
                </c:pt>
                <c:pt idx="47">
                  <c:v>18</c:v>
                </c:pt>
                <c:pt idx="48">
                  <c:v>23</c:v>
                </c:pt>
                <c:pt idx="49">
                  <c:v>15</c:v>
                </c:pt>
                <c:pt idx="50">
                  <c:v>19</c:v>
                </c:pt>
                <c:pt idx="51">
                  <c:v>35</c:v>
                </c:pt>
                <c:pt idx="52">
                  <c:v>20</c:v>
                </c:pt>
                <c:pt idx="5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EC-43FD-B34E-D80E9E36E559}"/>
            </c:ext>
          </c:extLst>
        </c:ser>
        <c:ser>
          <c:idx val="1"/>
          <c:order val="1"/>
          <c:tx>
            <c:strRef>
              <c:f>'ePHYTO Alianza del Pacífico'!$AB$115</c:f>
              <c:strCache>
                <c:ptCount val="1"/>
                <c:pt idx="0">
                  <c:v>Colombi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23:$Z$176</c:f>
              <c:multiLvlStrCache>
                <c:ptCount val="54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  <c:pt idx="51">
                    <c:v>Nov</c:v>
                  </c:pt>
                  <c:pt idx="52">
                    <c:v>Dic</c:v>
                  </c:pt>
                  <c:pt idx="53">
                    <c:v>Ene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  <c:pt idx="53">
                    <c:v>2024</c:v>
                  </c:pt>
                </c:lvl>
              </c:multiLvlStrCache>
            </c:multiLvlStrRef>
          </c:cat>
          <c:val>
            <c:numRef>
              <c:f>'ePHYTO Alianza del Pacífico'!$AB$123:$AB$176</c:f>
              <c:numCache>
                <c:formatCode>General</c:formatCode>
                <c:ptCount val="54"/>
                <c:pt idx="0">
                  <c:v>13</c:v>
                </c:pt>
                <c:pt idx="1">
                  <c:v>6</c:v>
                </c:pt>
                <c:pt idx="2">
                  <c:v>2</c:v>
                </c:pt>
                <c:pt idx="3">
                  <c:v>11</c:v>
                </c:pt>
                <c:pt idx="4">
                  <c:v>8</c:v>
                </c:pt>
                <c:pt idx="5">
                  <c:v>9</c:v>
                </c:pt>
                <c:pt idx="6">
                  <c:v>8</c:v>
                </c:pt>
                <c:pt idx="7">
                  <c:v>19</c:v>
                </c:pt>
                <c:pt idx="8">
                  <c:v>6</c:v>
                </c:pt>
                <c:pt idx="9">
                  <c:v>22</c:v>
                </c:pt>
                <c:pt idx="10">
                  <c:v>35</c:v>
                </c:pt>
                <c:pt idx="11">
                  <c:v>22</c:v>
                </c:pt>
                <c:pt idx="12">
                  <c:v>25</c:v>
                </c:pt>
                <c:pt idx="13">
                  <c:v>3</c:v>
                </c:pt>
                <c:pt idx="14">
                  <c:v>8</c:v>
                </c:pt>
                <c:pt idx="15">
                  <c:v>4</c:v>
                </c:pt>
                <c:pt idx="16">
                  <c:v>7</c:v>
                </c:pt>
                <c:pt idx="17">
                  <c:v>4</c:v>
                </c:pt>
                <c:pt idx="18">
                  <c:v>5</c:v>
                </c:pt>
                <c:pt idx="19">
                  <c:v>32</c:v>
                </c:pt>
                <c:pt idx="20">
                  <c:v>28</c:v>
                </c:pt>
                <c:pt idx="21">
                  <c:v>18</c:v>
                </c:pt>
                <c:pt idx="22">
                  <c:v>20</c:v>
                </c:pt>
                <c:pt idx="23">
                  <c:v>19</c:v>
                </c:pt>
                <c:pt idx="24">
                  <c:v>28</c:v>
                </c:pt>
                <c:pt idx="25">
                  <c:v>11</c:v>
                </c:pt>
                <c:pt idx="26">
                  <c:v>12</c:v>
                </c:pt>
                <c:pt idx="27">
                  <c:v>19</c:v>
                </c:pt>
                <c:pt idx="28">
                  <c:v>26</c:v>
                </c:pt>
                <c:pt idx="29">
                  <c:v>6</c:v>
                </c:pt>
                <c:pt idx="30">
                  <c:v>21</c:v>
                </c:pt>
                <c:pt idx="31">
                  <c:v>19</c:v>
                </c:pt>
                <c:pt idx="32">
                  <c:v>17</c:v>
                </c:pt>
                <c:pt idx="33">
                  <c:v>4</c:v>
                </c:pt>
                <c:pt idx="34">
                  <c:v>10</c:v>
                </c:pt>
                <c:pt idx="35">
                  <c:v>12</c:v>
                </c:pt>
                <c:pt idx="36">
                  <c:v>17</c:v>
                </c:pt>
                <c:pt idx="37">
                  <c:v>14</c:v>
                </c:pt>
                <c:pt idx="38">
                  <c:v>9</c:v>
                </c:pt>
                <c:pt idx="39">
                  <c:v>7</c:v>
                </c:pt>
                <c:pt idx="40">
                  <c:v>9</c:v>
                </c:pt>
                <c:pt idx="41">
                  <c:v>10</c:v>
                </c:pt>
                <c:pt idx="42">
                  <c:v>19</c:v>
                </c:pt>
                <c:pt idx="43">
                  <c:v>18</c:v>
                </c:pt>
                <c:pt idx="44">
                  <c:v>21</c:v>
                </c:pt>
                <c:pt idx="45">
                  <c:v>16</c:v>
                </c:pt>
                <c:pt idx="46">
                  <c:v>19</c:v>
                </c:pt>
                <c:pt idx="47">
                  <c:v>19</c:v>
                </c:pt>
                <c:pt idx="48">
                  <c:v>31</c:v>
                </c:pt>
                <c:pt idx="49">
                  <c:v>16</c:v>
                </c:pt>
                <c:pt idx="50">
                  <c:v>5</c:v>
                </c:pt>
                <c:pt idx="51">
                  <c:v>10</c:v>
                </c:pt>
                <c:pt idx="52">
                  <c:v>9</c:v>
                </c:pt>
                <c:pt idx="5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EC-43FD-B34E-D80E9E36E559}"/>
            </c:ext>
          </c:extLst>
        </c:ser>
        <c:ser>
          <c:idx val="2"/>
          <c:order val="2"/>
          <c:tx>
            <c:strRef>
              <c:f>'ePHYTO Alianza del Pacífico'!$AC$115</c:f>
              <c:strCache>
                <c:ptCount val="1"/>
                <c:pt idx="0">
                  <c:v>Perú</c:v>
                </c:pt>
              </c:strCache>
            </c:strRef>
          </c:tx>
          <c:spPr>
            <a:solidFill>
              <a:srgbClr val="FF2929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23:$Z$176</c:f>
              <c:multiLvlStrCache>
                <c:ptCount val="54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  <c:pt idx="51">
                    <c:v>Nov</c:v>
                  </c:pt>
                  <c:pt idx="52">
                    <c:v>Dic</c:v>
                  </c:pt>
                  <c:pt idx="53">
                    <c:v>Ene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  <c:pt idx="53">
                    <c:v>2024</c:v>
                  </c:pt>
                </c:lvl>
              </c:multiLvlStrCache>
            </c:multiLvlStrRef>
          </c:cat>
          <c:val>
            <c:numRef>
              <c:f>'ePHYTO Alianza del Pacífico'!$AC$123:$AC$176</c:f>
              <c:numCache>
                <c:formatCode>General</c:formatCode>
                <c:ptCount val="54"/>
                <c:pt idx="0">
                  <c:v>29</c:v>
                </c:pt>
                <c:pt idx="1">
                  <c:v>20</c:v>
                </c:pt>
                <c:pt idx="2">
                  <c:v>25</c:v>
                </c:pt>
                <c:pt idx="3">
                  <c:v>29</c:v>
                </c:pt>
                <c:pt idx="4">
                  <c:v>30</c:v>
                </c:pt>
                <c:pt idx="5">
                  <c:v>21</c:v>
                </c:pt>
                <c:pt idx="6">
                  <c:v>24</c:v>
                </c:pt>
                <c:pt idx="7">
                  <c:v>31</c:v>
                </c:pt>
                <c:pt idx="8">
                  <c:v>46</c:v>
                </c:pt>
                <c:pt idx="9">
                  <c:v>54</c:v>
                </c:pt>
                <c:pt idx="10">
                  <c:v>31</c:v>
                </c:pt>
                <c:pt idx="11">
                  <c:v>24</c:v>
                </c:pt>
                <c:pt idx="12">
                  <c:v>11</c:v>
                </c:pt>
                <c:pt idx="13">
                  <c:v>15</c:v>
                </c:pt>
                <c:pt idx="14">
                  <c:v>24</c:v>
                </c:pt>
                <c:pt idx="15">
                  <c:v>22</c:v>
                </c:pt>
                <c:pt idx="16">
                  <c:v>22</c:v>
                </c:pt>
                <c:pt idx="17">
                  <c:v>8</c:v>
                </c:pt>
                <c:pt idx="18">
                  <c:v>23</c:v>
                </c:pt>
                <c:pt idx="19">
                  <c:v>33</c:v>
                </c:pt>
                <c:pt idx="20">
                  <c:v>26</c:v>
                </c:pt>
                <c:pt idx="21">
                  <c:v>9</c:v>
                </c:pt>
                <c:pt idx="22">
                  <c:v>16</c:v>
                </c:pt>
                <c:pt idx="23">
                  <c:v>10</c:v>
                </c:pt>
                <c:pt idx="24">
                  <c:v>27</c:v>
                </c:pt>
                <c:pt idx="25">
                  <c:v>24</c:v>
                </c:pt>
                <c:pt idx="26">
                  <c:v>24</c:v>
                </c:pt>
                <c:pt idx="27">
                  <c:v>12</c:v>
                </c:pt>
                <c:pt idx="28">
                  <c:v>15</c:v>
                </c:pt>
                <c:pt idx="29">
                  <c:v>13</c:v>
                </c:pt>
                <c:pt idx="30">
                  <c:v>10</c:v>
                </c:pt>
                <c:pt idx="31">
                  <c:v>18</c:v>
                </c:pt>
                <c:pt idx="32">
                  <c:v>10</c:v>
                </c:pt>
                <c:pt idx="33">
                  <c:v>11</c:v>
                </c:pt>
                <c:pt idx="34">
                  <c:v>33</c:v>
                </c:pt>
                <c:pt idx="35">
                  <c:v>25</c:v>
                </c:pt>
                <c:pt idx="36">
                  <c:v>28</c:v>
                </c:pt>
                <c:pt idx="37">
                  <c:v>26</c:v>
                </c:pt>
                <c:pt idx="38">
                  <c:v>11</c:v>
                </c:pt>
                <c:pt idx="39">
                  <c:v>33</c:v>
                </c:pt>
                <c:pt idx="40">
                  <c:v>16</c:v>
                </c:pt>
                <c:pt idx="41">
                  <c:v>13</c:v>
                </c:pt>
                <c:pt idx="42">
                  <c:v>16</c:v>
                </c:pt>
                <c:pt idx="43">
                  <c:v>31</c:v>
                </c:pt>
                <c:pt idx="44">
                  <c:v>35</c:v>
                </c:pt>
                <c:pt idx="45">
                  <c:v>41</c:v>
                </c:pt>
                <c:pt idx="46">
                  <c:v>41</c:v>
                </c:pt>
                <c:pt idx="47">
                  <c:v>28</c:v>
                </c:pt>
                <c:pt idx="48">
                  <c:v>32</c:v>
                </c:pt>
                <c:pt idx="49">
                  <c:v>22</c:v>
                </c:pt>
                <c:pt idx="50">
                  <c:v>16</c:v>
                </c:pt>
                <c:pt idx="51">
                  <c:v>15</c:v>
                </c:pt>
                <c:pt idx="52">
                  <c:v>15</c:v>
                </c:pt>
                <c:pt idx="5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EC-43FD-B34E-D80E9E36E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1495470111"/>
        <c:axId val="1495466783"/>
      </c:barChart>
      <c:lineChart>
        <c:grouping val="standard"/>
        <c:varyColors val="0"/>
        <c:ser>
          <c:idx val="3"/>
          <c:order val="3"/>
          <c:tx>
            <c:strRef>
              <c:f>'ePHYTO Alianza del Pacífico'!$AD$115</c:f>
              <c:strCache>
                <c:ptCount val="1"/>
                <c:pt idx="0">
                  <c:v>Total mensual</c:v>
                </c:pt>
              </c:strCache>
            </c:strRef>
          </c:tx>
          <c:spPr>
            <a:ln w="28575" cap="rnd">
              <a:solidFill>
                <a:srgbClr val="6EB675"/>
              </a:solidFill>
              <a:round/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rgbClr val="6EB675"/>
              </a:solidFill>
              <a:ln w="9525">
                <a:solidFill>
                  <a:srgbClr val="6EB675"/>
                </a:solidFill>
              </a:ln>
              <a:effectLst>
                <a:outerShdw blurRad="50800" dist="889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ePHYTO Alianza del Pacífico'!$Y$123:$Z$176</c:f>
              <c:multiLvlStrCache>
                <c:ptCount val="54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  <c:pt idx="51">
                    <c:v>Nov</c:v>
                  </c:pt>
                  <c:pt idx="52">
                    <c:v>Dic</c:v>
                  </c:pt>
                  <c:pt idx="53">
                    <c:v>Ene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  <c:pt idx="53">
                    <c:v>2024</c:v>
                  </c:pt>
                </c:lvl>
              </c:multiLvlStrCache>
            </c:multiLvlStrRef>
          </c:cat>
          <c:val>
            <c:numRef>
              <c:f>'ePHYTO Alianza del Pacífico'!$AD$123:$AD$176</c:f>
              <c:numCache>
                <c:formatCode>General</c:formatCode>
                <c:ptCount val="54"/>
                <c:pt idx="0">
                  <c:v>57</c:v>
                </c:pt>
                <c:pt idx="1">
                  <c:v>35</c:v>
                </c:pt>
                <c:pt idx="2">
                  <c:v>45</c:v>
                </c:pt>
                <c:pt idx="3">
                  <c:v>58</c:v>
                </c:pt>
                <c:pt idx="4">
                  <c:v>43</c:v>
                </c:pt>
                <c:pt idx="5">
                  <c:v>35</c:v>
                </c:pt>
                <c:pt idx="6">
                  <c:v>46</c:v>
                </c:pt>
                <c:pt idx="7">
                  <c:v>68</c:v>
                </c:pt>
                <c:pt idx="8">
                  <c:v>59</c:v>
                </c:pt>
                <c:pt idx="9">
                  <c:v>93</c:v>
                </c:pt>
                <c:pt idx="10">
                  <c:v>76</c:v>
                </c:pt>
                <c:pt idx="11">
                  <c:v>76</c:v>
                </c:pt>
                <c:pt idx="12">
                  <c:v>56</c:v>
                </c:pt>
                <c:pt idx="13">
                  <c:v>30</c:v>
                </c:pt>
                <c:pt idx="14">
                  <c:v>48</c:v>
                </c:pt>
                <c:pt idx="15">
                  <c:v>45</c:v>
                </c:pt>
                <c:pt idx="16">
                  <c:v>146</c:v>
                </c:pt>
                <c:pt idx="17">
                  <c:v>143</c:v>
                </c:pt>
                <c:pt idx="18">
                  <c:v>61</c:v>
                </c:pt>
                <c:pt idx="19">
                  <c:v>91</c:v>
                </c:pt>
                <c:pt idx="20">
                  <c:v>64</c:v>
                </c:pt>
                <c:pt idx="21">
                  <c:v>44</c:v>
                </c:pt>
                <c:pt idx="22">
                  <c:v>45</c:v>
                </c:pt>
                <c:pt idx="23">
                  <c:v>45</c:v>
                </c:pt>
                <c:pt idx="24">
                  <c:v>62</c:v>
                </c:pt>
                <c:pt idx="25">
                  <c:v>46</c:v>
                </c:pt>
                <c:pt idx="26">
                  <c:v>48</c:v>
                </c:pt>
                <c:pt idx="27">
                  <c:v>56</c:v>
                </c:pt>
                <c:pt idx="28">
                  <c:v>56</c:v>
                </c:pt>
                <c:pt idx="29">
                  <c:v>27</c:v>
                </c:pt>
                <c:pt idx="30">
                  <c:v>42</c:v>
                </c:pt>
                <c:pt idx="31">
                  <c:v>44</c:v>
                </c:pt>
                <c:pt idx="32">
                  <c:v>41</c:v>
                </c:pt>
                <c:pt idx="33">
                  <c:v>35</c:v>
                </c:pt>
                <c:pt idx="34">
                  <c:v>65</c:v>
                </c:pt>
                <c:pt idx="35">
                  <c:v>59</c:v>
                </c:pt>
                <c:pt idx="36">
                  <c:v>67</c:v>
                </c:pt>
                <c:pt idx="37">
                  <c:v>51</c:v>
                </c:pt>
                <c:pt idx="38">
                  <c:v>27</c:v>
                </c:pt>
                <c:pt idx="39">
                  <c:v>52</c:v>
                </c:pt>
                <c:pt idx="40">
                  <c:v>37</c:v>
                </c:pt>
                <c:pt idx="41">
                  <c:v>30</c:v>
                </c:pt>
                <c:pt idx="42">
                  <c:v>69</c:v>
                </c:pt>
                <c:pt idx="43">
                  <c:v>65</c:v>
                </c:pt>
                <c:pt idx="44">
                  <c:v>67</c:v>
                </c:pt>
                <c:pt idx="45">
                  <c:v>72</c:v>
                </c:pt>
                <c:pt idx="46">
                  <c:v>86</c:v>
                </c:pt>
                <c:pt idx="47">
                  <c:v>65</c:v>
                </c:pt>
                <c:pt idx="48">
                  <c:v>86</c:v>
                </c:pt>
                <c:pt idx="49">
                  <c:v>53</c:v>
                </c:pt>
                <c:pt idx="50">
                  <c:v>40</c:v>
                </c:pt>
                <c:pt idx="51">
                  <c:v>60</c:v>
                </c:pt>
                <c:pt idx="52">
                  <c:v>44</c:v>
                </c:pt>
                <c:pt idx="53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BEC-43FD-B34E-D80E9E36E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456799"/>
        <c:axId val="1495452639"/>
      </c:lineChart>
      <c:catAx>
        <c:axId val="1495470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66783"/>
        <c:crosses val="autoZero"/>
        <c:auto val="1"/>
        <c:lblAlgn val="ctr"/>
        <c:lblOffset val="100"/>
        <c:noMultiLvlLbl val="0"/>
      </c:catAx>
      <c:valAx>
        <c:axId val="1495466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70111"/>
        <c:crosses val="autoZero"/>
        <c:crossBetween val="between"/>
      </c:valAx>
      <c:valAx>
        <c:axId val="1495452639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495456799"/>
        <c:crosses val="max"/>
        <c:crossBetween val="between"/>
      </c:valAx>
      <c:catAx>
        <c:axId val="14954567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5452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713981996811403"/>
          <c:y val="0.92187445319335082"/>
          <c:w val="0.37598700495962545"/>
          <c:h val="7.02389048297153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2375841474227679"/>
          <c:y val="1.087484022226632E-2"/>
          <c:w val="0.63249536068786494"/>
          <c:h val="0.97868381466275256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C$116:$BC$130</c:f>
              <c:strCache>
                <c:ptCount val="15"/>
                <c:pt idx="0">
                  <c:v>OISA Mazatlán</c:v>
                </c:pt>
                <c:pt idx="1">
                  <c:v>RE del SENASICA en Jalisco</c:v>
                </c:pt>
                <c:pt idx="2">
                  <c:v>MCF Uruapan, Michoacán</c:v>
                </c:pt>
                <c:pt idx="3">
                  <c:v>Ciudad de México, DGSV</c:v>
                </c:pt>
                <c:pt idx="4">
                  <c:v>MCF Cd. Guzmán, Jal</c:v>
                </c:pt>
                <c:pt idx="5">
                  <c:v>MCF Bahía de Banderas</c:v>
                </c:pt>
                <c:pt idx="6">
                  <c:v>RE SADER en Nuevo León</c:v>
                </c:pt>
                <c:pt idx="7">
                  <c:v>MCF CESAVECOL</c:v>
                </c:pt>
                <c:pt idx="8">
                  <c:v>OISA Puerto Vallarta</c:v>
                </c:pt>
                <c:pt idx="9">
                  <c:v>OISA Puerto de Veracruz</c:v>
                </c:pt>
                <c:pt idx="10">
                  <c:v>RE del SENASICA en Sinaloa</c:v>
                </c:pt>
                <c:pt idx="11">
                  <c:v>RE del SENASICA Celaya, Gto.</c:v>
                </c:pt>
                <c:pt idx="12">
                  <c:v>OISA Guadalajara</c:v>
                </c:pt>
                <c:pt idx="13">
                  <c:v>OISA Culiacán</c:v>
                </c:pt>
                <c:pt idx="14">
                  <c:v>OISA Manzanillo</c:v>
                </c:pt>
              </c:strCache>
            </c:strRef>
          </c:cat>
          <c:val>
            <c:numRef>
              <c:f>'ePHYTO Alianza del Pacífico'!$BD$116:$BD$130</c:f>
              <c:numCache>
                <c:formatCode>_-* #,##0_-;\-* #,##0_-;_-* "-"??_-;_-@_-</c:formatCode>
                <c:ptCount val="15"/>
                <c:pt idx="0">
                  <c:v>758</c:v>
                </c:pt>
                <c:pt idx="1">
                  <c:v>333</c:v>
                </c:pt>
                <c:pt idx="2">
                  <c:v>291</c:v>
                </c:pt>
                <c:pt idx="3">
                  <c:v>231</c:v>
                </c:pt>
                <c:pt idx="4">
                  <c:v>208</c:v>
                </c:pt>
                <c:pt idx="5">
                  <c:v>202</c:v>
                </c:pt>
                <c:pt idx="6">
                  <c:v>200</c:v>
                </c:pt>
                <c:pt idx="7">
                  <c:v>121</c:v>
                </c:pt>
                <c:pt idx="8">
                  <c:v>95</c:v>
                </c:pt>
                <c:pt idx="9">
                  <c:v>89</c:v>
                </c:pt>
                <c:pt idx="10">
                  <c:v>75</c:v>
                </c:pt>
                <c:pt idx="11">
                  <c:v>64</c:v>
                </c:pt>
                <c:pt idx="12">
                  <c:v>56</c:v>
                </c:pt>
                <c:pt idx="13">
                  <c:v>53</c:v>
                </c:pt>
                <c:pt idx="14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5E-42B7-9862-EC0115F602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4"/>
        <c:shape val="box"/>
        <c:axId val="1495475519"/>
        <c:axId val="1495464287"/>
        <c:axId val="0"/>
      </c:bar3DChart>
      <c:catAx>
        <c:axId val="14954755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64287"/>
        <c:crosses val="autoZero"/>
        <c:auto val="1"/>
        <c:lblAlgn val="ctr"/>
        <c:lblOffset val="100"/>
        <c:noMultiLvlLbl val="0"/>
      </c:catAx>
      <c:valAx>
        <c:axId val="1495464287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149547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1470179142995994"/>
          <c:y val="9.0845401225560472E-3"/>
          <c:w val="0.50234000999893869"/>
          <c:h val="0.96232380516896299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Alianza del Pacífico'!$BS$114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R$115:$BR$134</c:f>
              <c:strCache>
                <c:ptCount val="20"/>
                <c:pt idx="0">
                  <c:v>P.H.I. MEXICO SA DE CV</c:v>
                </c:pt>
                <c:pt idx="1">
                  <c:v>VIVER GRANOS Y SEMILLAS SA DE CV</c:v>
                </c:pt>
                <c:pt idx="2">
                  <c:v>MONSANTO COMERCIAL S DE RL DE CV</c:v>
                </c:pt>
                <c:pt idx="3">
                  <c:v>MEXICANA DE ARROZ SA DE CV</c:v>
                </c:pt>
                <c:pt idx="4">
                  <c:v>COIRTECH SA DE CV</c:v>
                </c:pt>
                <c:pt idx="5">
                  <c:v>PURP SA DE CV</c:v>
                </c:pt>
                <c:pt idx="6">
                  <c:v>SYNGENTA AGRO SA DE CV</c:v>
                </c:pt>
                <c:pt idx="7">
                  <c:v>MISSION DE MEXICO SA DE CV</c:v>
                </c:pt>
                <c:pt idx="8">
                  <c:v>GRANOS LA MACARENA SA DE CV</c:v>
                </c:pt>
                <c:pt idx="9">
                  <c:v>EXPORTADOR RAV</c:v>
                </c:pt>
                <c:pt idx="10">
                  <c:v>ESPECIALISTAS EN PAPAYAS SA DE CV</c:v>
                </c:pt>
                <c:pt idx="11">
                  <c:v>JOVA GRANEROS SA DE CV</c:v>
                </c:pt>
                <c:pt idx="12">
                  <c:v>ALIMENTOS AGRICOLAS Y NATURALES SA DE CV</c:v>
                </c:pt>
                <c:pt idx="13">
                  <c:v>SAN TADEO Y SOCIOS S.P.R. DE R.L.</c:v>
                </c:pt>
                <c:pt idx="14">
                  <c:v>NORTH GRAINS TRADING SA DE CV</c:v>
                </c:pt>
                <c:pt idx="15">
                  <c:v>CENTRO INTERNACIONAL DE MEJORAMIENTO DE MAIZ Y TRIGO INTERNACIONAL</c:v>
                </c:pt>
                <c:pt idx="16">
                  <c:v>VIVEROS FALL CREEK MEXICO S DE RL DE CV</c:v>
                </c:pt>
                <c:pt idx="17">
                  <c:v>ASOCIACIONES AGROINDUSTRIALES SERRANAS SA DE CV</c:v>
                </c:pt>
                <c:pt idx="18">
                  <c:v>DIPASA INTERNACIONAL DE MEXICO SA DE CV</c:v>
                </c:pt>
                <c:pt idx="19">
                  <c:v>BRITISH AMERICAN TOBACCO MEXICO SA DE CV</c:v>
                </c:pt>
              </c:strCache>
            </c:strRef>
          </c:cat>
          <c:val>
            <c:numRef>
              <c:f>'ePHYTO Alianza del Pacífico'!$BS$115:$BS$134</c:f>
              <c:numCache>
                <c:formatCode>General</c:formatCode>
                <c:ptCount val="20"/>
                <c:pt idx="0">
                  <c:v>426</c:v>
                </c:pt>
                <c:pt idx="1">
                  <c:v>241</c:v>
                </c:pt>
                <c:pt idx="2">
                  <c:v>230</c:v>
                </c:pt>
                <c:pt idx="3">
                  <c:v>193</c:v>
                </c:pt>
                <c:pt idx="4">
                  <c:v>122</c:v>
                </c:pt>
                <c:pt idx="5">
                  <c:v>108</c:v>
                </c:pt>
                <c:pt idx="6">
                  <c:v>106</c:v>
                </c:pt>
                <c:pt idx="7">
                  <c:v>103</c:v>
                </c:pt>
                <c:pt idx="8">
                  <c:v>100</c:v>
                </c:pt>
                <c:pt idx="9">
                  <c:v>91</c:v>
                </c:pt>
                <c:pt idx="10">
                  <c:v>85</c:v>
                </c:pt>
                <c:pt idx="11">
                  <c:v>85</c:v>
                </c:pt>
                <c:pt idx="12">
                  <c:v>84</c:v>
                </c:pt>
                <c:pt idx="13">
                  <c:v>66</c:v>
                </c:pt>
                <c:pt idx="14">
                  <c:v>63</c:v>
                </c:pt>
                <c:pt idx="15">
                  <c:v>51</c:v>
                </c:pt>
                <c:pt idx="16">
                  <c:v>51</c:v>
                </c:pt>
                <c:pt idx="17">
                  <c:v>44</c:v>
                </c:pt>
                <c:pt idx="18">
                  <c:v>41</c:v>
                </c:pt>
                <c:pt idx="1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20-425F-AE06-828E6932F83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2"/>
        <c:shape val="box"/>
        <c:axId val="89946864"/>
        <c:axId val="89949776"/>
        <c:axId val="0"/>
      </c:bar3DChart>
      <c:catAx>
        <c:axId val="8994686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89949776"/>
        <c:crosses val="autoZero"/>
        <c:auto val="1"/>
        <c:lblAlgn val="ctr"/>
        <c:lblOffset val="100"/>
        <c:noMultiLvlLbl val="0"/>
      </c:catAx>
      <c:valAx>
        <c:axId val="89949776"/>
        <c:scaling>
          <c:orientation val="minMax"/>
          <c:max val="200"/>
        </c:scaling>
        <c:delete val="1"/>
        <c:axPos val="t"/>
        <c:numFmt formatCode="General" sourceLinked="1"/>
        <c:majorTickMark val="out"/>
        <c:minorTickMark val="none"/>
        <c:tickLblPos val="nextTo"/>
        <c:crossAx val="8994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5555555555555558E-3"/>
          <c:y val="0.11187488188483427"/>
          <c:w val="0.99444444444444446"/>
          <c:h val="0.65029251604757254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ePHYTO EUA'!$A$9:$B$42</c:f>
              <c:multiLvlStrCache>
                <c:ptCount val="34"/>
                <c:lvl>
                  <c:pt idx="0">
                    <c:v>ABR</c:v>
                  </c:pt>
                  <c:pt idx="1">
                    <c:v>MAY</c:v>
                  </c:pt>
                  <c:pt idx="2">
                    <c:v>JUN</c:v>
                  </c:pt>
                  <c:pt idx="3">
                    <c:v>JUL</c:v>
                  </c:pt>
                  <c:pt idx="4">
                    <c:v>AGO</c:v>
                  </c:pt>
                  <c:pt idx="5">
                    <c:v>SEP</c:v>
                  </c:pt>
                  <c:pt idx="6">
                    <c:v>OCT</c:v>
                  </c:pt>
                  <c:pt idx="7">
                    <c:v>NOV</c:v>
                  </c:pt>
                  <c:pt idx="8">
                    <c:v>DIC</c:v>
                  </c:pt>
                  <c:pt idx="9">
                    <c:v>ENE </c:v>
                  </c:pt>
                  <c:pt idx="10">
                    <c:v>FEB</c:v>
                  </c:pt>
                  <c:pt idx="11">
                    <c:v>MAR</c:v>
                  </c:pt>
                  <c:pt idx="12">
                    <c:v>ABR</c:v>
                  </c:pt>
                  <c:pt idx="13">
                    <c:v>MAY</c:v>
                  </c:pt>
                  <c:pt idx="14">
                    <c:v>JUN</c:v>
                  </c:pt>
                  <c:pt idx="15">
                    <c:v>JUL</c:v>
                  </c:pt>
                  <c:pt idx="16">
                    <c:v>AGO</c:v>
                  </c:pt>
                  <c:pt idx="17">
                    <c:v>SEP</c:v>
                  </c:pt>
                  <c:pt idx="18">
                    <c:v>OCT</c:v>
                  </c:pt>
                  <c:pt idx="19">
                    <c:v>NOV</c:v>
                  </c:pt>
                  <c:pt idx="20">
                    <c:v>DIC</c:v>
                  </c:pt>
                  <c:pt idx="21">
                    <c:v>ENE </c:v>
                  </c:pt>
                  <c:pt idx="22">
                    <c:v>FEB</c:v>
                  </c:pt>
                  <c:pt idx="23">
                    <c:v>MAR</c:v>
                  </c:pt>
                  <c:pt idx="24">
                    <c:v>ABR</c:v>
                  </c:pt>
                  <c:pt idx="25">
                    <c:v>MAY</c:v>
                  </c:pt>
                  <c:pt idx="26">
                    <c:v>JUN</c:v>
                  </c:pt>
                  <c:pt idx="27">
                    <c:v>JUL</c:v>
                  </c:pt>
                  <c:pt idx="28">
                    <c:v>AGO</c:v>
                  </c:pt>
                  <c:pt idx="29">
                    <c:v>SEP</c:v>
                  </c:pt>
                  <c:pt idx="30">
                    <c:v>OCT</c:v>
                  </c:pt>
                  <c:pt idx="31">
                    <c:v>NOV</c:v>
                  </c:pt>
                  <c:pt idx="32">
                    <c:v>DIC</c:v>
                  </c:pt>
                  <c:pt idx="33">
                    <c:v>ENE </c:v>
                  </c:pt>
                </c:lvl>
                <c:lvl>
                  <c:pt idx="0">
                    <c:v>2021</c:v>
                  </c:pt>
                  <c:pt idx="9">
                    <c:v>2022</c:v>
                  </c:pt>
                  <c:pt idx="21">
                    <c:v>2023</c:v>
                  </c:pt>
                  <c:pt idx="33">
                    <c:v>2024</c:v>
                  </c:pt>
                </c:lvl>
              </c:multiLvlStrCache>
            </c:multiLvlStrRef>
          </c:cat>
          <c:val>
            <c:numRef>
              <c:f>'ePHYTO EUA'!$C$9:$C$42</c:f>
              <c:numCache>
                <c:formatCode>#,##0</c:formatCode>
                <c:ptCount val="34"/>
                <c:pt idx="0">
                  <c:v>200</c:v>
                </c:pt>
                <c:pt idx="1">
                  <c:v>404</c:v>
                </c:pt>
                <c:pt idx="2">
                  <c:v>568</c:v>
                </c:pt>
                <c:pt idx="3">
                  <c:v>371</c:v>
                </c:pt>
                <c:pt idx="4">
                  <c:v>488</c:v>
                </c:pt>
                <c:pt idx="5">
                  <c:v>760</c:v>
                </c:pt>
                <c:pt idx="6">
                  <c:v>789</c:v>
                </c:pt>
                <c:pt idx="7">
                  <c:v>1030</c:v>
                </c:pt>
                <c:pt idx="8">
                  <c:v>1122</c:v>
                </c:pt>
                <c:pt idx="9">
                  <c:v>1398</c:v>
                </c:pt>
                <c:pt idx="10">
                  <c:v>1743</c:v>
                </c:pt>
                <c:pt idx="11">
                  <c:v>2370</c:v>
                </c:pt>
                <c:pt idx="12">
                  <c:v>2253</c:v>
                </c:pt>
                <c:pt idx="13">
                  <c:v>2092</c:v>
                </c:pt>
                <c:pt idx="14">
                  <c:v>1567</c:v>
                </c:pt>
                <c:pt idx="15">
                  <c:v>1433</c:v>
                </c:pt>
                <c:pt idx="16">
                  <c:v>2004</c:v>
                </c:pt>
                <c:pt idx="17">
                  <c:v>2709</c:v>
                </c:pt>
                <c:pt idx="18">
                  <c:v>2624</c:v>
                </c:pt>
                <c:pt idx="19">
                  <c:v>2998</c:v>
                </c:pt>
                <c:pt idx="20">
                  <c:v>3730</c:v>
                </c:pt>
                <c:pt idx="21">
                  <c:v>3987</c:v>
                </c:pt>
                <c:pt idx="22">
                  <c:v>3989</c:v>
                </c:pt>
                <c:pt idx="23">
                  <c:v>5039</c:v>
                </c:pt>
                <c:pt idx="24">
                  <c:v>4208</c:v>
                </c:pt>
                <c:pt idx="25">
                  <c:v>4023</c:v>
                </c:pt>
                <c:pt idx="26">
                  <c:v>3321</c:v>
                </c:pt>
                <c:pt idx="27">
                  <c:v>2765</c:v>
                </c:pt>
                <c:pt idx="28">
                  <c:v>3239</c:v>
                </c:pt>
                <c:pt idx="29">
                  <c:v>3924</c:v>
                </c:pt>
                <c:pt idx="30">
                  <c:v>5438</c:v>
                </c:pt>
                <c:pt idx="31">
                  <c:v>6107</c:v>
                </c:pt>
                <c:pt idx="32">
                  <c:v>6411</c:v>
                </c:pt>
                <c:pt idx="33">
                  <c:v>7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9F-4153-AA84-93877DEC68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shape val="box"/>
        <c:axId val="1537190319"/>
        <c:axId val="1537190735"/>
        <c:axId val="0"/>
      </c:bar3DChart>
      <c:catAx>
        <c:axId val="15371903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537190735"/>
        <c:crosses val="autoZero"/>
        <c:auto val="1"/>
        <c:lblAlgn val="ctr"/>
        <c:lblOffset val="100"/>
        <c:noMultiLvlLbl val="0"/>
      </c:catAx>
      <c:valAx>
        <c:axId val="153719073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7190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5029784657950582"/>
          <c:y val="4.6158471232794632E-3"/>
          <c:w val="0.6548907630556422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EUA'!$T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0280372192645415E-2"/>
                  <c:y val="-9.908820364383365E-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B62-46D6-9176-192D92B1C324}"/>
                </c:ext>
              </c:extLst>
            </c:dLbl>
            <c:dLbl>
              <c:idx val="1"/>
              <c:layout>
                <c:manualLayout>
                  <c:x val="8.5669768272046178E-3"/>
                  <c:y val="1.98176407287667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2-46D6-9176-192D92B1C324}"/>
                </c:ext>
              </c:extLst>
            </c:dLbl>
            <c:dLbl>
              <c:idx val="2"/>
              <c:layout>
                <c:manualLayout>
                  <c:x val="6.8535814617636933E-3"/>
                  <c:y val="3.96352814575334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2-46D6-9176-192D92B1C324}"/>
                </c:ext>
              </c:extLst>
            </c:dLbl>
            <c:dLbl>
              <c:idx val="3"/>
              <c:layout>
                <c:manualLayout>
                  <c:x val="8.5669768272046178E-3"/>
                  <c:y val="2.16194941787387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62-46D6-9176-192D92B1C324}"/>
                </c:ext>
              </c:extLst>
            </c:dLbl>
            <c:dLbl>
              <c:idx val="4"/>
              <c:layout>
                <c:manualLayout>
                  <c:x val="1.0280372192645541E-2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B62-46D6-9176-192D92B1C324}"/>
                </c:ext>
              </c:extLst>
            </c:dLbl>
            <c:dLbl>
              <c:idx val="5"/>
              <c:layout>
                <c:manualLayout>
                  <c:x val="5.1401860963227707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B62-46D6-9176-192D92B1C324}"/>
                </c:ext>
              </c:extLst>
            </c:dLbl>
            <c:dLbl>
              <c:idx val="6"/>
              <c:layout>
                <c:manualLayout>
                  <c:x val="6.8535814617636933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B62-46D6-9176-192D92B1C324}"/>
                </c:ext>
              </c:extLst>
            </c:dLbl>
            <c:dLbl>
              <c:idx val="7"/>
              <c:layout>
                <c:manualLayout>
                  <c:x val="6.8535814617636933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62-46D6-9176-192D92B1C324}"/>
                </c:ext>
              </c:extLst>
            </c:dLbl>
            <c:dLbl>
              <c:idx val="8"/>
              <c:layout>
                <c:manualLayout>
                  <c:x val="8.5669768272045536E-3"/>
                  <c:y val="2.16194941787399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B62-46D6-9176-192D92B1C324}"/>
                </c:ext>
              </c:extLst>
            </c:dLbl>
            <c:dLbl>
              <c:idx val="9"/>
              <c:layout>
                <c:manualLayout>
                  <c:x val="1.0280372192645477E-2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B62-46D6-9176-192D92B1C3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EUA'!$S$6:$S$20</c:f>
              <c:strCache>
                <c:ptCount val="15"/>
                <c:pt idx="0">
                  <c:v>OISA Huejotzingo</c:v>
                </c:pt>
                <c:pt idx="1">
                  <c:v>MCF CESAVECOL</c:v>
                </c:pt>
                <c:pt idx="2">
                  <c:v>DDR Montemorelos</c:v>
                </c:pt>
                <c:pt idx="3">
                  <c:v>MCF Cd. Guzmán, Jal</c:v>
                </c:pt>
                <c:pt idx="4">
                  <c:v>RE del SENASICA Celaya, Gto.</c:v>
                </c:pt>
                <c:pt idx="5">
                  <c:v>DDR Dolores Hidalgo</c:v>
                </c:pt>
                <c:pt idx="6">
                  <c:v>MCF OPOPEO</c:v>
                </c:pt>
                <c:pt idx="7">
                  <c:v>RE del SENASICA en Sinaloa</c:v>
                </c:pt>
                <c:pt idx="8">
                  <c:v>OISA Guadalajara</c:v>
                </c:pt>
                <c:pt idx="9">
                  <c:v>MCF UAPLCE BC</c:v>
                </c:pt>
                <c:pt idx="10">
                  <c:v>OISA San Luis Río Colorado</c:v>
                </c:pt>
                <c:pt idx="11">
                  <c:v>OISA Tijuana</c:v>
                </c:pt>
                <c:pt idx="12">
                  <c:v>OISA Silao</c:v>
                </c:pt>
                <c:pt idx="13">
                  <c:v>MCF Planta Benebión</c:v>
                </c:pt>
                <c:pt idx="14">
                  <c:v>JLSV Hermosillo</c:v>
                </c:pt>
              </c:strCache>
            </c:strRef>
          </c:cat>
          <c:val>
            <c:numRef>
              <c:f>'ePHYTO EUA'!$T$6:$T$20</c:f>
              <c:numCache>
                <c:formatCode>_-* #,##0_-;\-* #,##0_-;_-* "-"??_-;_-@_-</c:formatCode>
                <c:ptCount val="15"/>
                <c:pt idx="0">
                  <c:v>17034</c:v>
                </c:pt>
                <c:pt idx="1">
                  <c:v>14604</c:v>
                </c:pt>
                <c:pt idx="2">
                  <c:v>7383</c:v>
                </c:pt>
                <c:pt idx="3">
                  <c:v>6504</c:v>
                </c:pt>
                <c:pt idx="4">
                  <c:v>4782</c:v>
                </c:pt>
                <c:pt idx="5">
                  <c:v>4080</c:v>
                </c:pt>
                <c:pt idx="6">
                  <c:v>3848</c:v>
                </c:pt>
                <c:pt idx="7">
                  <c:v>3455</c:v>
                </c:pt>
                <c:pt idx="8" formatCode="General">
                  <c:v>2630</c:v>
                </c:pt>
                <c:pt idx="9">
                  <c:v>2571</c:v>
                </c:pt>
                <c:pt idx="10">
                  <c:v>2448</c:v>
                </c:pt>
                <c:pt idx="11">
                  <c:v>2360</c:v>
                </c:pt>
                <c:pt idx="12">
                  <c:v>1990</c:v>
                </c:pt>
                <c:pt idx="13">
                  <c:v>1960</c:v>
                </c:pt>
                <c:pt idx="14">
                  <c:v>1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62-46D6-9176-192D92B1C32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0727642806472719"/>
          <c:y val="0"/>
          <c:w val="0.51552296279991727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7.5962480515922816E-3"/>
                  <c:y val="1.1236783250027491E-17"/>
                </c:manualLayout>
              </c:layout>
              <c:tx>
                <c:rich>
                  <a:bodyPr/>
                  <a:lstStyle/>
                  <a:p>
                    <a:fld id="{A030D943-756D-4BDE-B0B8-1B86E7C8743A}" type="VALUE">
                      <a:rPr lang="en-US"/>
                      <a:pPr/>
                      <a:t>[VALOR]</a:t>
                    </a:fld>
                    <a:endParaRPr lang="es-MX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868-445D-8CD0-086F3D07C83A}"/>
                </c:ext>
              </c:extLst>
            </c:dLbl>
            <c:dLbl>
              <c:idx val="1"/>
              <c:layout>
                <c:manualLayout>
                  <c:x val="7.59624805159214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68-445D-8CD0-086F3D07C83A}"/>
                </c:ext>
              </c:extLst>
            </c:dLbl>
            <c:dLbl>
              <c:idx val="2"/>
              <c:layout>
                <c:manualLayout>
                  <c:x val="5.697186038694071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68-445D-8CD0-086F3D07C83A}"/>
                </c:ext>
              </c:extLst>
            </c:dLbl>
            <c:dLbl>
              <c:idx val="3"/>
              <c:layout>
                <c:manualLayout>
                  <c:x val="7.5962480515921419E-3"/>
                  <c:y val="2.45169012181232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868-445D-8CD0-086F3D07C83A}"/>
                </c:ext>
              </c:extLst>
            </c:dLbl>
            <c:dLbl>
              <c:idx val="4"/>
              <c:layout>
                <c:manualLayout>
                  <c:x val="9.49531006449021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868-445D-8CD0-086F3D07C83A}"/>
                </c:ext>
              </c:extLst>
            </c:dLbl>
            <c:dLbl>
              <c:idx val="5"/>
              <c:layout>
                <c:manualLayout>
                  <c:x val="7.59624805159214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868-445D-8CD0-086F3D07C83A}"/>
                </c:ext>
              </c:extLst>
            </c:dLbl>
            <c:dLbl>
              <c:idx val="6"/>
              <c:layout>
                <c:manualLayout>
                  <c:x val="7.59624805159228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868-445D-8CD0-086F3D07C83A}"/>
                </c:ext>
              </c:extLst>
            </c:dLbl>
            <c:dLbl>
              <c:idx val="7"/>
              <c:layout>
                <c:manualLayout>
                  <c:x val="5.6971860386942109E-3"/>
                  <c:y val="-8.989426600021992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868-445D-8CD0-086F3D07C83A}"/>
                </c:ext>
              </c:extLst>
            </c:dLbl>
            <c:dLbl>
              <c:idx val="8"/>
              <c:layout>
                <c:manualLayout>
                  <c:x val="7.5962480515922816E-3"/>
                  <c:y val="-8.989426600021992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868-445D-8CD0-086F3D07C83A}"/>
                </c:ext>
              </c:extLst>
            </c:dLbl>
            <c:dLbl>
              <c:idx val="9"/>
              <c:layout>
                <c:manualLayout>
                  <c:x val="5.69718603869421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868-445D-8CD0-086F3D07C8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EUA'!$AK$6:$AK$25</c:f>
              <c:strCache>
                <c:ptCount val="20"/>
                <c:pt idx="0">
                  <c:v>TAYLOR FARMS DE MEXICO S DE RL DE CV</c:v>
                </c:pt>
                <c:pt idx="1">
                  <c:v>CHURCH BROTHERS DEL NORTE S DE RL DE CV</c:v>
                </c:pt>
                <c:pt idx="2">
                  <c:v>CITRUS GAME S A P I DE CV</c:v>
                </c:pt>
                <c:pt idx="3">
                  <c:v>JDC EXPORTADORA SA DE CV</c:v>
                </c:pt>
                <c:pt idx="4">
                  <c:v>LIMONES MONICA SA DE CV</c:v>
                </c:pt>
                <c:pt idx="5">
                  <c:v>AGUACATES ACUITZIO DEL CANJE SA DE CV</c:v>
                </c:pt>
                <c:pt idx="6">
                  <c:v>EMPAQUE PRODUCE SOL DORADO SA DE CV</c:v>
                </c:pt>
                <c:pt idx="7">
                  <c:v>P.H.I. MEXICO SA DE CV</c:v>
                </c:pt>
                <c:pt idx="8">
                  <c:v>VEGETALES JAZMINEZ SA DE CV</c:v>
                </c:pt>
                <c:pt idx="9">
                  <c:v>GRUPO AGUACATERO LOS CERRITOS S DE RL DE CV</c:v>
                </c:pt>
                <c:pt idx="10">
                  <c:v>PAPAYOS DEL OCCIDENTE S.P.R. DE R.L.</c:v>
                </c:pt>
                <c:pt idx="11">
                  <c:v>GRUPO AGROBJX CAA SA DE CV</c:v>
                </c:pt>
                <c:pt idx="12">
                  <c:v>CITRICOLA DEL YAQUI SA DE CV</c:v>
                </c:pt>
                <c:pt idx="13">
                  <c:v>SERVICIO DE ALMACENAJE Y LOGISTICA DEL NORTE SA DE CV</c:v>
                </c:pt>
                <c:pt idx="14">
                  <c:v>COMERCIALIZADORA GAB SA DE CV</c:v>
                </c:pt>
                <c:pt idx="15">
                  <c:v>B &amp; M FRESH SA DE CV</c:v>
                </c:pt>
                <c:pt idx="16">
                  <c:v>LOS MIRASOLES S.P.R. DE R.L.</c:v>
                </c:pt>
                <c:pt idx="17">
                  <c:v>EXPORTADORA DE FRUTAS Y LEGUMBRES TRES ASES SA DE CV</c:v>
                </c:pt>
                <c:pt idx="18">
                  <c:v>GOLDEN FIELDS S DE RL DE CV</c:v>
                </c:pt>
                <c:pt idx="19">
                  <c:v>EXPORTADOR DOB</c:v>
                </c:pt>
              </c:strCache>
            </c:strRef>
          </c:cat>
          <c:val>
            <c:numRef>
              <c:f>'ePHYTO EUA'!$AL$6:$AL$25</c:f>
              <c:numCache>
                <c:formatCode>#,##0</c:formatCode>
                <c:ptCount val="20"/>
                <c:pt idx="0">
                  <c:v>3642</c:v>
                </c:pt>
                <c:pt idx="1">
                  <c:v>2262</c:v>
                </c:pt>
                <c:pt idx="2">
                  <c:v>2245</c:v>
                </c:pt>
                <c:pt idx="3">
                  <c:v>2091</c:v>
                </c:pt>
                <c:pt idx="4">
                  <c:v>1897</c:v>
                </c:pt>
                <c:pt idx="5">
                  <c:v>1852</c:v>
                </c:pt>
                <c:pt idx="6">
                  <c:v>1830</c:v>
                </c:pt>
                <c:pt idx="7">
                  <c:v>1732</c:v>
                </c:pt>
                <c:pt idx="8">
                  <c:v>1684</c:v>
                </c:pt>
                <c:pt idx="9">
                  <c:v>1582</c:v>
                </c:pt>
                <c:pt idx="10">
                  <c:v>1573</c:v>
                </c:pt>
                <c:pt idx="11">
                  <c:v>1450</c:v>
                </c:pt>
                <c:pt idx="12">
                  <c:v>1369</c:v>
                </c:pt>
                <c:pt idx="13">
                  <c:v>1312</c:v>
                </c:pt>
                <c:pt idx="14">
                  <c:v>1231</c:v>
                </c:pt>
                <c:pt idx="15">
                  <c:v>1217</c:v>
                </c:pt>
                <c:pt idx="16">
                  <c:v>1153</c:v>
                </c:pt>
                <c:pt idx="17">
                  <c:v>1129</c:v>
                </c:pt>
                <c:pt idx="18">
                  <c:v>1124</c:v>
                </c:pt>
                <c:pt idx="19">
                  <c:v>1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868-445D-8CD0-086F3D07C83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286</cdr:x>
      <cdr:y>0.38971</cdr:y>
    </cdr:from>
    <cdr:to>
      <cdr:x>0.86127</cdr:x>
      <cdr:y>0.56345</cdr:y>
    </cdr:to>
    <cdr:sp macro="" textlink="">
      <cdr:nvSpPr>
        <cdr:cNvPr id="2" name="CuadroTexto 212"/>
        <cdr:cNvSpPr txBox="1"/>
      </cdr:nvSpPr>
      <cdr:spPr>
        <a:xfrm xmlns:a="http://schemas.openxmlformats.org/drawingml/2006/main">
          <a:off x="2885353" y="1611610"/>
          <a:ext cx="1609579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47%</a:t>
          </a:r>
        </a:p>
      </cdr:txBody>
    </cdr:sp>
  </cdr:relSizeAnchor>
  <cdr:relSizeAnchor xmlns:cdr="http://schemas.openxmlformats.org/drawingml/2006/chartDrawing">
    <cdr:from>
      <cdr:x>0.15147</cdr:x>
      <cdr:y>0.5444</cdr:y>
    </cdr:from>
    <cdr:to>
      <cdr:x>0.48893</cdr:x>
      <cdr:y>0.71814</cdr:y>
    </cdr:to>
    <cdr:sp macro="" textlink="">
      <cdr:nvSpPr>
        <cdr:cNvPr id="3" name="CuadroTexto 212"/>
        <cdr:cNvSpPr txBox="1"/>
      </cdr:nvSpPr>
      <cdr:spPr>
        <a:xfrm xmlns:a="http://schemas.openxmlformats.org/drawingml/2006/main">
          <a:off x="790516" y="2251316"/>
          <a:ext cx="1761189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50%</a:t>
          </a:r>
        </a:p>
      </cdr:txBody>
    </cdr:sp>
  </cdr:relSizeAnchor>
  <cdr:relSizeAnchor xmlns:cdr="http://schemas.openxmlformats.org/drawingml/2006/chartDrawing">
    <cdr:from>
      <cdr:x>0.38997</cdr:x>
      <cdr:y>0.19049</cdr:y>
    </cdr:from>
    <cdr:to>
      <cdr:x>0.55146</cdr:x>
      <cdr:y>0.31212</cdr:y>
    </cdr:to>
    <cdr:sp macro="" textlink="">
      <cdr:nvSpPr>
        <cdr:cNvPr id="4" name="CuadroTexto 207"/>
        <cdr:cNvSpPr txBox="1"/>
      </cdr:nvSpPr>
      <cdr:spPr>
        <a:xfrm xmlns:a="http://schemas.openxmlformats.org/drawingml/2006/main">
          <a:off x="1982252" y="733041"/>
          <a:ext cx="820873" cy="46801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2400" b="1" dirty="0"/>
            <a:t>3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3432</cdr:x>
      <cdr:y>0.31743</cdr:y>
    </cdr:from>
    <cdr:to>
      <cdr:x>0.83874</cdr:x>
      <cdr:y>0.49269</cdr:y>
    </cdr:to>
    <cdr:sp macro="" textlink="">
      <cdr:nvSpPr>
        <cdr:cNvPr id="2" name="CuadroTexto 217"/>
        <cdr:cNvSpPr txBox="1"/>
      </cdr:nvSpPr>
      <cdr:spPr>
        <a:xfrm xmlns:a="http://schemas.openxmlformats.org/drawingml/2006/main">
          <a:off x="2713439" y="1301247"/>
          <a:ext cx="1545937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35%</a:t>
          </a:r>
        </a:p>
      </cdr:txBody>
    </cdr:sp>
  </cdr:relSizeAnchor>
  <cdr:relSizeAnchor xmlns:cdr="http://schemas.openxmlformats.org/drawingml/2006/chartDrawing">
    <cdr:from>
      <cdr:x>0.28745</cdr:x>
      <cdr:y>0.64728</cdr:y>
    </cdr:from>
    <cdr:to>
      <cdr:x>0.59188</cdr:x>
      <cdr:y>0.83398</cdr:y>
    </cdr:to>
    <cdr:sp macro="" textlink="">
      <cdr:nvSpPr>
        <cdr:cNvPr id="3" name="CuadroTexto 216"/>
        <cdr:cNvSpPr txBox="1"/>
      </cdr:nvSpPr>
      <cdr:spPr>
        <a:xfrm xmlns:a="http://schemas.openxmlformats.org/drawingml/2006/main">
          <a:off x="1058354" y="2490799"/>
          <a:ext cx="1120864" cy="71844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40%</a:t>
          </a:r>
        </a:p>
      </cdr:txBody>
    </cdr:sp>
  </cdr:relSizeAnchor>
  <cdr:relSizeAnchor xmlns:cdr="http://schemas.openxmlformats.org/drawingml/2006/chartDrawing">
    <cdr:from>
      <cdr:x>0.1958</cdr:x>
      <cdr:y>0.23002</cdr:y>
    </cdr:from>
    <cdr:to>
      <cdr:x>0.50842</cdr:x>
      <cdr:y>0.40528</cdr:y>
    </cdr:to>
    <cdr:sp macro="" textlink="">
      <cdr:nvSpPr>
        <cdr:cNvPr id="4" name="CuadroTexto 218"/>
        <cdr:cNvSpPr txBox="1"/>
      </cdr:nvSpPr>
      <cdr:spPr>
        <a:xfrm xmlns:a="http://schemas.openxmlformats.org/drawingml/2006/main">
          <a:off x="994332" y="942925"/>
          <a:ext cx="1587579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/>
            <a:t>25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5265809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6DF3567-AC17-4864-A37C-BDC175B31D26}" type="slidenum">
              <a:rPr lang="es-MX" smtClean="0"/>
              <a:pPr/>
              <a:t>‹Nº›</a:t>
            </a:fld>
            <a:endParaRPr lang="es-MX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1407" y="973668"/>
            <a:ext cx="3779628" cy="57121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854787" y="973668"/>
            <a:ext cx="3779628" cy="57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911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214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r>
              <a:rPr lang="es-MX"/>
              <a:t>Lic. Armando Cesar López Amador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214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E8267E9-3695-4D4B-A107-D086ADDEA59E}" type="datetimeFigureOut">
              <a:rPr lang="es-MX" smtClean="0"/>
              <a:pPr/>
              <a:t>15/04/20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762375" y="876300"/>
            <a:ext cx="177165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29640" y="3373757"/>
            <a:ext cx="7437120" cy="2760344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658259"/>
            <a:ext cx="4028440" cy="35214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266347" y="6658259"/>
            <a:ext cx="4028440" cy="35214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1DBA7B0-03B0-411F-9E66-2B65E2F8A874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394621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21340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21437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11" hasCustomPrompt="1"/>
          </p:nvPr>
        </p:nvSpPr>
        <p:spPr>
          <a:xfrm>
            <a:off x="2306472" y="1587500"/>
            <a:ext cx="6908800" cy="325438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s-MX" dirty="0"/>
              <a:t>TEMA O TÍTULO DEL DOCUMENTO MONTSERRAT NEGRITA</a:t>
            </a:r>
          </a:p>
        </p:txBody>
      </p:sp>
    </p:spTree>
    <p:extLst>
      <p:ext uri="{BB962C8B-B14F-4D97-AF65-F5344CB8AC3E}">
        <p14:creationId xmlns:p14="http://schemas.microsoft.com/office/powerpoint/2010/main" val="1340447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5BEC151E-F8C4-45CE-AC1F-11F3489345B6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80374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  <a:prstGeom prst="rect">
            <a:avLst/>
          </a:prstGeom>
        </p:spPr>
        <p:txBody>
          <a:bodyPr anchor="b"/>
          <a:lstStyle>
            <a:lvl1pPr>
              <a:defRPr sz="4267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340567"/>
            <a:ext cx="6172200" cy="11552296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95728622-A18F-4D5B-BE24-CFAABAE4CF19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0021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  <a:prstGeom prst="rect">
            <a:avLst/>
          </a:prstGeom>
        </p:spPr>
        <p:txBody>
          <a:bodyPr anchor="b"/>
          <a:lstStyle>
            <a:lvl1pPr>
              <a:defRPr sz="4267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2340567"/>
            <a:ext cx="6172200" cy="11552296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B4E861C-8B82-4BC8-8923-989F8DEFFEAC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94309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65485"/>
            <a:ext cx="10515600" cy="31420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327407"/>
            <a:ext cx="10515600" cy="1031428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BEEB47DF-172A-4545-92EF-2F4D332BAFC4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3323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865481"/>
            <a:ext cx="2628900" cy="13776209"/>
          </a:xfrm>
          <a:prstGeom prst="rect">
            <a:avLst/>
          </a:prstGeo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865481"/>
            <a:ext cx="7734300" cy="1377620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0DB1074-4969-4F82-B1F6-1C2D121E4255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07748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2660650"/>
            <a:ext cx="9144000" cy="56594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8537575"/>
            <a:ext cx="9144000" cy="392588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137470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932096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4052888"/>
            <a:ext cx="10515600" cy="676116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10879138"/>
            <a:ext cx="10515600" cy="3556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748607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69187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865188"/>
            <a:ext cx="10515600" cy="314166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3984625"/>
            <a:ext cx="5157787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5937250"/>
            <a:ext cx="5157787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3984625"/>
            <a:ext cx="5183188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5937250"/>
            <a:ext cx="5183188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9066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2150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168535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54845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778831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31397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485103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865188"/>
            <a:ext cx="2628900" cy="137763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865188"/>
            <a:ext cx="7734300" cy="13776325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12277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2660650"/>
            <a:ext cx="9144000" cy="56594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8537575"/>
            <a:ext cx="9144000" cy="392588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170900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321521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4052888"/>
            <a:ext cx="10515600" cy="676116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10879138"/>
            <a:ext cx="10515600" cy="3556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613072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07901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0894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865188"/>
            <a:ext cx="10515600" cy="314166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3984625"/>
            <a:ext cx="5157787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5937250"/>
            <a:ext cx="5157787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3984625"/>
            <a:ext cx="5183188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5937250"/>
            <a:ext cx="5183188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982872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10202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33554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1461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237803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370643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865188"/>
            <a:ext cx="2628900" cy="137763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865188"/>
            <a:ext cx="7734300" cy="13776325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121734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2660650"/>
            <a:ext cx="9144000" cy="56594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8537575"/>
            <a:ext cx="9144000" cy="392588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01894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700553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4052888"/>
            <a:ext cx="10515600" cy="676116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10879138"/>
            <a:ext cx="10515600" cy="3556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97219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41600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4327525"/>
            <a:ext cx="5181600" cy="103139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681062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865188"/>
            <a:ext cx="10515600" cy="314166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3984625"/>
            <a:ext cx="5157787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5937250"/>
            <a:ext cx="5157787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3984625"/>
            <a:ext cx="5183188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5937250"/>
            <a:ext cx="5183188" cy="87344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88282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166888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101382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25293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1084263"/>
            <a:ext cx="3932237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2339975"/>
            <a:ext cx="6172200" cy="115522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745440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839465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865188"/>
            <a:ext cx="2628900" cy="137763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865188"/>
            <a:ext cx="7734300" cy="13776325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02714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5271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334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6601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525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65485"/>
            <a:ext cx="10515600" cy="31420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8BA1AB11-CF1B-4125-A355-BBFEE26CD13C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31837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 userDrawn="1"/>
        </p:nvGrpSpPr>
        <p:grpSpPr>
          <a:xfrm>
            <a:off x="439605" y="368903"/>
            <a:ext cx="11414343" cy="1566715"/>
            <a:chOff x="1217441" y="584902"/>
            <a:chExt cx="9840671" cy="1350716"/>
          </a:xfrm>
        </p:grpSpPr>
        <p:pic>
          <p:nvPicPr>
            <p:cNvPr id="3" name="Imagen 2"/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098" y="713104"/>
              <a:ext cx="5361869" cy="502379"/>
            </a:xfrm>
            <a:prstGeom prst="rect">
              <a:avLst/>
            </a:prstGeom>
          </p:spPr>
        </p:pic>
        <p:cxnSp>
          <p:nvCxnSpPr>
            <p:cNvPr id="13" name="Conector recto 12"/>
            <p:cNvCxnSpPr/>
            <p:nvPr userDrawn="1"/>
          </p:nvCxnSpPr>
          <p:spPr>
            <a:xfrm>
              <a:off x="6995218" y="724255"/>
              <a:ext cx="0" cy="596931"/>
            </a:xfrm>
            <a:prstGeom prst="line">
              <a:avLst/>
            </a:prstGeom>
            <a:ln w="12700">
              <a:solidFill>
                <a:srgbClr val="B38E5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CuadroTexto 4"/>
            <p:cNvSpPr txBox="1"/>
            <p:nvPr userDrawn="1"/>
          </p:nvSpPr>
          <p:spPr>
            <a:xfrm>
              <a:off x="7097939" y="584902"/>
              <a:ext cx="3792615" cy="8756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s-MX" sz="1600" b="1" kern="120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DIRECCIÓN GENERAL DE</a:t>
              </a:r>
            </a:p>
            <a:p>
              <a:pPr algn="l"/>
              <a:r>
                <a:rPr lang="es-MX" sz="1600" b="1" kern="120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SPECCIÓN</a:t>
              </a:r>
              <a:r>
                <a:rPr lang="es-MX" sz="1600" b="1" kern="1200" baseline="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 FITOZOOSANITARIA, DGIF </a:t>
              </a:r>
            </a:p>
            <a:p>
              <a:pPr algn="l"/>
              <a:r>
                <a:rPr lang="es-MX" sz="1400" b="0" kern="1200" baseline="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Dirección de Gestión Estratégica de Servicios Cuarentenarios, DGESC</a:t>
              </a:r>
              <a:endParaRPr lang="es-MX" b="0" dirty="0"/>
            </a:p>
          </p:txBody>
        </p:sp>
        <p:cxnSp>
          <p:nvCxnSpPr>
            <p:cNvPr id="8" name="Conector recto 7"/>
            <p:cNvCxnSpPr/>
            <p:nvPr userDrawn="1"/>
          </p:nvCxnSpPr>
          <p:spPr>
            <a:xfrm>
              <a:off x="1217441" y="1588777"/>
              <a:ext cx="9840671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cto 24"/>
            <p:cNvCxnSpPr/>
            <p:nvPr userDrawn="1"/>
          </p:nvCxnSpPr>
          <p:spPr>
            <a:xfrm>
              <a:off x="1217441" y="1935618"/>
              <a:ext cx="9840671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718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46" r:id="rId2"/>
    <p:sldLayoutId id="2147483733" r:id="rId3"/>
    <p:sldLayoutId id="2147483732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865188"/>
            <a:ext cx="10515600" cy="31416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4327525"/>
            <a:ext cx="10515600" cy="10313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3B6ED3-8F2B-477C-8A59-C6F981B49322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15066963"/>
            <a:ext cx="41148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2497B3-5CC9-4212-BB8A-B608EB73FAEC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39093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865188"/>
            <a:ext cx="10515600" cy="31416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4327525"/>
            <a:ext cx="10515600" cy="10313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FFEFBC-2187-4254-87A6-34247814024D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15066963"/>
            <a:ext cx="41148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F75EFA-613B-4CEE-AFC1-13D3EBD8312B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8050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865188"/>
            <a:ext cx="10515600" cy="31416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4327525"/>
            <a:ext cx="10515600" cy="10313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785CB5-17B9-4C11-973A-4C4A258F9606}" type="datetimeFigureOut">
              <a:rPr lang="es-MX" smtClean="0"/>
              <a:t>15/04/2024</a:t>
            </a:fld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15066963"/>
            <a:ext cx="41148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15066963"/>
            <a:ext cx="27432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ACFE93-8E88-4061-92D5-739B37F74B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73037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10" Type="http://schemas.openxmlformats.org/officeDocument/2006/relationships/chart" Target="../charts/chart3.xml"/><Relationship Id="rId4" Type="http://schemas.openxmlformats.org/officeDocument/2006/relationships/image" Target="../media/image4.png"/><Relationship Id="rId9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7.wdp"/><Relationship Id="rId18" Type="http://schemas.openxmlformats.org/officeDocument/2006/relationships/image" Target="../media/image15.png"/><Relationship Id="rId3" Type="http://schemas.microsoft.com/office/2007/relationships/hdphoto" Target="../media/hdphoto2.wdp"/><Relationship Id="rId21" Type="http://schemas.openxmlformats.org/officeDocument/2006/relationships/chart" Target="../charts/chart5.xml"/><Relationship Id="rId7" Type="http://schemas.microsoft.com/office/2007/relationships/hdphoto" Target="../media/hdphoto4.wdp"/><Relationship Id="rId12" Type="http://schemas.openxmlformats.org/officeDocument/2006/relationships/image" Target="../media/image12.png"/><Relationship Id="rId17" Type="http://schemas.microsoft.com/office/2007/relationships/hdphoto" Target="../media/hdphoto9.wdp"/><Relationship Id="rId2" Type="http://schemas.openxmlformats.org/officeDocument/2006/relationships/image" Target="../media/image7.png"/><Relationship Id="rId16" Type="http://schemas.openxmlformats.org/officeDocument/2006/relationships/image" Target="../media/image14.png"/><Relationship Id="rId20" Type="http://schemas.openxmlformats.org/officeDocument/2006/relationships/chart" Target="../charts/chart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5" Type="http://schemas.microsoft.com/office/2007/relationships/hdphoto" Target="../media/hdphoto8.wdp"/><Relationship Id="rId10" Type="http://schemas.openxmlformats.org/officeDocument/2006/relationships/image" Target="../media/image11.png"/><Relationship Id="rId19" Type="http://schemas.microsoft.com/office/2007/relationships/hdphoto" Target="../media/hdphoto10.wdp"/><Relationship Id="rId4" Type="http://schemas.openxmlformats.org/officeDocument/2006/relationships/image" Target="../media/image8.png"/><Relationship Id="rId9" Type="http://schemas.microsoft.com/office/2007/relationships/hdphoto" Target="../media/hdphoto5.wdp"/><Relationship Id="rId14" Type="http://schemas.openxmlformats.org/officeDocument/2006/relationships/image" Target="../media/image13.png"/><Relationship Id="rId22" Type="http://schemas.openxmlformats.org/officeDocument/2006/relationships/chart" Target="../charts/char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13.wdp"/><Relationship Id="rId18" Type="http://schemas.openxmlformats.org/officeDocument/2006/relationships/chart" Target="../charts/chart9.xml"/><Relationship Id="rId3" Type="http://schemas.openxmlformats.org/officeDocument/2006/relationships/image" Target="../media/image9.png"/><Relationship Id="rId7" Type="http://schemas.openxmlformats.org/officeDocument/2006/relationships/image" Target="../media/image17.png"/><Relationship Id="rId12" Type="http://schemas.openxmlformats.org/officeDocument/2006/relationships/image" Target="../media/image20.png"/><Relationship Id="rId17" Type="http://schemas.openxmlformats.org/officeDocument/2006/relationships/chart" Target="../charts/chart8.xml"/><Relationship Id="rId2" Type="http://schemas.openxmlformats.org/officeDocument/2006/relationships/image" Target="../media/image16.png"/><Relationship Id="rId16" Type="http://schemas.openxmlformats.org/officeDocument/2006/relationships/chart" Target="../charts/chart7.xml"/><Relationship Id="rId1" Type="http://schemas.openxmlformats.org/officeDocument/2006/relationships/slideLayout" Target="../slideLayouts/slideLayout1.xml"/><Relationship Id="rId6" Type="http://schemas.microsoft.com/office/2007/relationships/hdphoto" Target="../media/hdphoto5.wdp"/><Relationship Id="rId11" Type="http://schemas.microsoft.com/office/2007/relationships/hdphoto" Target="../media/hdphoto12.wdp"/><Relationship Id="rId5" Type="http://schemas.openxmlformats.org/officeDocument/2006/relationships/image" Target="../media/image10.png"/><Relationship Id="rId15" Type="http://schemas.microsoft.com/office/2007/relationships/hdphoto" Target="../media/hdphoto14.wdp"/><Relationship Id="rId10" Type="http://schemas.openxmlformats.org/officeDocument/2006/relationships/image" Target="../media/image19.png"/><Relationship Id="rId4" Type="http://schemas.microsoft.com/office/2007/relationships/hdphoto" Target="../media/hdphoto4.wdp"/><Relationship Id="rId9" Type="http://schemas.microsoft.com/office/2007/relationships/hdphoto" Target="../media/hdphoto11.wdp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6.png"/><Relationship Id="rId18" Type="http://schemas.openxmlformats.org/officeDocument/2006/relationships/chart" Target="../charts/chart11.xml"/><Relationship Id="rId3" Type="http://schemas.microsoft.com/office/2007/relationships/hdphoto" Target="../media/hdphoto15.wdp"/><Relationship Id="rId7" Type="http://schemas.microsoft.com/office/2007/relationships/hdphoto" Target="../media/hdphoto16.wdp"/><Relationship Id="rId12" Type="http://schemas.openxmlformats.org/officeDocument/2006/relationships/image" Target="../media/image25.jpeg"/><Relationship Id="rId17" Type="http://schemas.openxmlformats.org/officeDocument/2006/relationships/chart" Target="../charts/chart10.xml"/><Relationship Id="rId2" Type="http://schemas.openxmlformats.org/officeDocument/2006/relationships/image" Target="../media/image22.png"/><Relationship Id="rId16" Type="http://schemas.microsoft.com/office/2007/relationships/hdphoto" Target="../media/hdphoto19.wdp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11" Type="http://schemas.microsoft.com/office/2007/relationships/hdphoto" Target="../media/hdphoto17.wdp"/><Relationship Id="rId5" Type="http://schemas.microsoft.com/office/2007/relationships/hdphoto" Target="../media/hdphoto4.wdp"/><Relationship Id="rId15" Type="http://schemas.openxmlformats.org/officeDocument/2006/relationships/image" Target="../media/image27.png"/><Relationship Id="rId10" Type="http://schemas.openxmlformats.org/officeDocument/2006/relationships/image" Target="../media/image24.png"/><Relationship Id="rId19" Type="http://schemas.openxmlformats.org/officeDocument/2006/relationships/chart" Target="../charts/chart12.xml"/><Relationship Id="rId4" Type="http://schemas.openxmlformats.org/officeDocument/2006/relationships/image" Target="../media/image9.png"/><Relationship Id="rId9" Type="http://schemas.microsoft.com/office/2007/relationships/hdphoto" Target="../media/hdphoto6.wdp"/><Relationship Id="rId14" Type="http://schemas.microsoft.com/office/2007/relationships/hdphoto" Target="../media/hdphoto18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hdphoto" Target="../media/hdphoto5.wdp"/><Relationship Id="rId18" Type="http://schemas.openxmlformats.org/officeDocument/2006/relationships/chart" Target="../charts/chart15.xml"/><Relationship Id="rId3" Type="http://schemas.openxmlformats.org/officeDocument/2006/relationships/image" Target="../media/image9.png"/><Relationship Id="rId7" Type="http://schemas.microsoft.com/office/2007/relationships/hdphoto" Target="../media/hdphoto6.wdp"/><Relationship Id="rId12" Type="http://schemas.openxmlformats.org/officeDocument/2006/relationships/image" Target="../media/image10.png"/><Relationship Id="rId17" Type="http://schemas.openxmlformats.org/officeDocument/2006/relationships/chart" Target="../charts/chart14.xml"/><Relationship Id="rId2" Type="http://schemas.openxmlformats.org/officeDocument/2006/relationships/image" Target="../media/image28.png"/><Relationship Id="rId16" Type="http://schemas.openxmlformats.org/officeDocument/2006/relationships/chart" Target="../charts/chart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microsoft.com/office/2007/relationships/hdphoto" Target="../media/hdphoto20.wdp"/><Relationship Id="rId5" Type="http://schemas.openxmlformats.org/officeDocument/2006/relationships/image" Target="../media/image29.png"/><Relationship Id="rId15" Type="http://schemas.microsoft.com/office/2007/relationships/hdphoto" Target="../media/hdphoto21.wdp"/><Relationship Id="rId10" Type="http://schemas.openxmlformats.org/officeDocument/2006/relationships/image" Target="../media/image30.png"/><Relationship Id="rId4" Type="http://schemas.microsoft.com/office/2007/relationships/hdphoto" Target="../media/hdphoto4.wdp"/><Relationship Id="rId9" Type="http://schemas.microsoft.com/office/2007/relationships/hdphoto" Target="../media/hdphoto7.wdp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chart" Target="../charts/chart1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2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33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microsoft.com/office/2007/relationships/hdphoto" Target="../media/hdphoto22.wdp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34.pn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chart" Target="../charts/chart17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8308" y="2413525"/>
            <a:ext cx="5580229" cy="9160984"/>
          </a:xfrm>
          <a:prstGeom prst="rect">
            <a:avLst/>
          </a:prstGeom>
        </p:spPr>
      </p:pic>
      <p:pic>
        <p:nvPicPr>
          <p:cNvPr id="1040" name="Picture 16" descr="Archivo:Alianza del Pacífico-Logo.PNG - Wikipedia, la enciclopedia lib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218" y="13516270"/>
            <a:ext cx="1300828" cy="1352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Escala Balanza De La Justicia - Gráficos vectoriales gratis en Pixabay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67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804" y="8902178"/>
            <a:ext cx="3242362" cy="324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as claves de la Alianza del Pacif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18" y="1661363"/>
            <a:ext cx="5643699" cy="2976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181" name="CuadroTexto 180"/>
          <p:cNvSpPr txBox="1"/>
          <p:nvPr/>
        </p:nvSpPr>
        <p:spPr>
          <a:xfrm>
            <a:off x="8482844" y="5750533"/>
            <a:ext cx="32146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México</a:t>
            </a:r>
          </a:p>
        </p:txBody>
      </p:sp>
      <p:sp>
        <p:nvSpPr>
          <p:cNvPr id="182" name="CuadroTexto 181"/>
          <p:cNvSpPr txBox="1"/>
          <p:nvPr/>
        </p:nvSpPr>
        <p:spPr>
          <a:xfrm>
            <a:off x="9573688" y="6726013"/>
            <a:ext cx="27083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Colombia</a:t>
            </a:r>
          </a:p>
        </p:txBody>
      </p:sp>
      <p:sp>
        <p:nvSpPr>
          <p:cNvPr id="183" name="CuadroTexto 182"/>
          <p:cNvSpPr txBox="1"/>
          <p:nvPr/>
        </p:nvSpPr>
        <p:spPr>
          <a:xfrm>
            <a:off x="8319587" y="8139325"/>
            <a:ext cx="25908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Perú</a:t>
            </a:r>
          </a:p>
        </p:txBody>
      </p:sp>
      <p:sp>
        <p:nvSpPr>
          <p:cNvPr id="184" name="CuadroTexto 183"/>
          <p:cNvSpPr txBox="1"/>
          <p:nvPr/>
        </p:nvSpPr>
        <p:spPr>
          <a:xfrm>
            <a:off x="8742021" y="9632031"/>
            <a:ext cx="24732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Chile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98703" y="4219509"/>
            <a:ext cx="7177302" cy="1018988"/>
            <a:chOff x="842201" y="7863630"/>
            <a:chExt cx="7177302" cy="1018988"/>
          </a:xfrm>
        </p:grpSpPr>
        <p:sp>
          <p:nvSpPr>
            <p:cNvPr id="194" name="Pentágono 193"/>
            <p:cNvSpPr/>
            <p:nvPr/>
          </p:nvSpPr>
          <p:spPr>
            <a:xfrm>
              <a:off x="1749440" y="7942265"/>
              <a:ext cx="6270063" cy="861717"/>
            </a:xfrm>
            <a:prstGeom prst="homePlate">
              <a:avLst/>
            </a:prstGeom>
            <a:solidFill>
              <a:srgbClr val="0070C0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2800" dirty="0">
                  <a:solidFill>
                    <a:srgbClr val="3C5C4F"/>
                  </a:solidFill>
                </a:rPr>
                <a:t>Intercambio electrónico de certificados fitosanitarios, </a:t>
              </a:r>
              <a:r>
                <a:rPr lang="es-MX" sz="2800" b="1" dirty="0">
                  <a:solidFill>
                    <a:srgbClr val="3C5C4F"/>
                  </a:solidFill>
                </a:rPr>
                <a:t>01 de agosto de 2019</a:t>
              </a:r>
              <a:r>
                <a:rPr lang="es-MX" sz="2800" dirty="0">
                  <a:solidFill>
                    <a:srgbClr val="3C5C4F"/>
                  </a:solidFill>
                </a:rPr>
                <a:t>.</a:t>
              </a:r>
              <a:endParaRPr lang="es-MX" sz="2800" dirty="0">
                <a:solidFill>
                  <a:schemeClr val="tx1"/>
                </a:solidFill>
                <a:latin typeface="Montserrat" panose="00000500000000000000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95" name="Elipse 194"/>
            <p:cNvSpPr/>
            <p:nvPr/>
          </p:nvSpPr>
          <p:spPr>
            <a:xfrm>
              <a:off x="842201" y="7863630"/>
              <a:ext cx="1097280" cy="1018988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3600" b="1" dirty="0">
                  <a:solidFill>
                    <a:schemeClr val="bg1"/>
                  </a:solidFill>
                  <a:latin typeface="Consolas" panose="020B0609020204030204" pitchFamily="49" charset="0"/>
                </a:rPr>
                <a:t>U</a:t>
              </a:r>
            </a:p>
          </p:txBody>
        </p:sp>
      </p:grpSp>
      <p:sp>
        <p:nvSpPr>
          <p:cNvPr id="204" name="CuadroTexto 203"/>
          <p:cNvSpPr txBox="1"/>
          <p:nvPr/>
        </p:nvSpPr>
        <p:spPr>
          <a:xfrm>
            <a:off x="138269" y="16006604"/>
            <a:ext cx="10340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Fuente: Datos obtenidos de la VDMCE. Datos del 01 de agosto de 2019 al 31 de enero de 2024 .  </a:t>
            </a:r>
          </a:p>
        </p:txBody>
      </p:sp>
      <p:sp>
        <p:nvSpPr>
          <p:cNvPr id="1027" name="CuadroTexto 1026"/>
          <p:cNvSpPr txBox="1"/>
          <p:nvPr/>
        </p:nvSpPr>
        <p:spPr>
          <a:xfrm>
            <a:off x="-32532" y="11522625"/>
            <a:ext cx="5823732" cy="648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ctr">
              <a:defRPr sz="2400" b="1">
                <a:solidFill>
                  <a:schemeClr val="lt1"/>
                </a:solidFill>
                <a:latin typeface="Montserrat" panose="000005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sz="1800" dirty="0">
                <a:solidFill>
                  <a:srgbClr val="3C5C4F"/>
                </a:solidFill>
              </a:rPr>
              <a:t>CFI electrónicos recibidos en Importación.</a:t>
            </a:r>
          </a:p>
        </p:txBody>
      </p:sp>
      <p:sp>
        <p:nvSpPr>
          <p:cNvPr id="214" name="CuadroTexto 213"/>
          <p:cNvSpPr txBox="1"/>
          <p:nvPr/>
        </p:nvSpPr>
        <p:spPr>
          <a:xfrm>
            <a:off x="13787" y="10690312"/>
            <a:ext cx="4119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dirty="0">
                <a:solidFill>
                  <a:srgbClr val="3C5C4F"/>
                </a:solidFill>
                <a:latin typeface="Monserrat"/>
              </a:rPr>
              <a:t>AVANCE 2019-2024. </a:t>
            </a:r>
          </a:p>
        </p:txBody>
      </p:sp>
      <p:sp>
        <p:nvSpPr>
          <p:cNvPr id="222" name="CuadroTexto 221"/>
          <p:cNvSpPr txBox="1"/>
          <p:nvPr/>
        </p:nvSpPr>
        <p:spPr>
          <a:xfrm>
            <a:off x="6236509" y="11509884"/>
            <a:ext cx="5823732" cy="648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ctr">
              <a:defRPr sz="2400" b="1">
                <a:solidFill>
                  <a:schemeClr val="lt1"/>
                </a:solidFill>
                <a:latin typeface="Montserrat" panose="000005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sz="1800" dirty="0">
                <a:solidFill>
                  <a:srgbClr val="3C5C4F"/>
                </a:solidFill>
              </a:rPr>
              <a:t>CFI electrónicos emitidos para Exportación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6356479" y="10255494"/>
            <a:ext cx="8636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rgbClr val="3C5C4F"/>
                </a:solidFill>
                <a:latin typeface="Monserrat"/>
              </a:rPr>
              <a:t>EXP</a:t>
            </a:r>
          </a:p>
          <a:p>
            <a:pPr algn="ctr"/>
            <a:r>
              <a:rPr lang="es-MX" sz="2000" b="1" dirty="0">
                <a:latin typeface="Monserrat"/>
              </a:rPr>
              <a:t>3,103 </a:t>
            </a:r>
          </a:p>
        </p:txBody>
      </p:sp>
      <p:sp>
        <p:nvSpPr>
          <p:cNvPr id="3" name="Rectángulo 2"/>
          <p:cNvSpPr/>
          <p:nvPr/>
        </p:nvSpPr>
        <p:spPr>
          <a:xfrm>
            <a:off x="4572000" y="10622267"/>
            <a:ext cx="10542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rgbClr val="3C5C4F"/>
                </a:solidFill>
                <a:latin typeface="Monserrat"/>
              </a:rPr>
              <a:t>IMP</a:t>
            </a:r>
          </a:p>
          <a:p>
            <a:pPr algn="ctr"/>
            <a:r>
              <a:rPr lang="es-MX" sz="2000" b="1" dirty="0">
                <a:latin typeface="Monserrat"/>
              </a:rPr>
              <a:t> 30,936    </a:t>
            </a:r>
          </a:p>
        </p:txBody>
      </p:sp>
      <p:pic>
        <p:nvPicPr>
          <p:cNvPr id="220" name="Picture 16" descr="Archivo:Alianza del Pacífico-Logo.PNG - Wikipedia, la enciclopedia lib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639" y="13548158"/>
            <a:ext cx="1250448" cy="1299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" name="Gráfico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9452483"/>
              </p:ext>
            </p:extLst>
          </p:nvPr>
        </p:nvGraphicFramePr>
        <p:xfrm>
          <a:off x="467139" y="12060810"/>
          <a:ext cx="5218958" cy="4094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5" name="Gráfico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9923968"/>
              </p:ext>
            </p:extLst>
          </p:nvPr>
        </p:nvGraphicFramePr>
        <p:xfrm>
          <a:off x="6513659" y="12052656"/>
          <a:ext cx="5090308" cy="4068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Gráfico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6587831"/>
              </p:ext>
            </p:extLst>
          </p:nvPr>
        </p:nvGraphicFramePr>
        <p:xfrm>
          <a:off x="266794" y="5514071"/>
          <a:ext cx="7748358" cy="3960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172267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8" name="Picture 24" descr="Bandera De Perú Bajo La Forma De Cinta De La Onda Ilustración del Vector -  Ilustración de divisa, concepto: 14016984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242" t="43940" r="23807" b="27789"/>
          <a:stretch/>
        </p:blipFill>
        <p:spPr bwMode="auto">
          <a:xfrm>
            <a:off x="10163176" y="4039146"/>
            <a:ext cx="2029290" cy="31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✓ Imagen de Bandera de Chile en forma de cinta de ondas. Fotografía de Stock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964" t="44564" r="25397" b="27124"/>
          <a:stretch/>
        </p:blipFill>
        <p:spPr bwMode="auto">
          <a:xfrm>
            <a:off x="10163176" y="3411777"/>
            <a:ext cx="2029290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139738" y="2505224"/>
            <a:ext cx="2625939" cy="228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ángulo redondeado 46"/>
          <p:cNvSpPr/>
          <p:nvPr/>
        </p:nvSpPr>
        <p:spPr>
          <a:xfrm>
            <a:off x="2966994" y="2598689"/>
            <a:ext cx="3151909" cy="751709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400" dirty="0">
                <a:solidFill>
                  <a:srgbClr val="3C5C4F"/>
                </a:solidFill>
                <a:latin typeface="Monserrat"/>
              </a:rPr>
              <a:t>Autoridades MINAGRI – MINAGRICULTURA – MIDAGRI - AGRICULTUR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3003698" y="3573345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6524951" y="2822262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2996767" y="4258967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6535339" y="3463039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6542270" y="4152304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4257" y="2026164"/>
            <a:ext cx="10586467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CHILE, COLOMBIA, PERÚ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1342749" y="8358994"/>
            <a:ext cx="5615936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333" y="11021676"/>
            <a:ext cx="5282841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312726" y="11035020"/>
            <a:ext cx="389312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1007609"/>
            <a:ext cx="1060355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45</a:t>
            </a:r>
            <a:endParaRPr lang="es-MX" sz="36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003167" y="11021858"/>
            <a:ext cx="1280337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136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8356109"/>
            <a:ext cx="1321481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58</a:t>
            </a:r>
          </a:p>
        </p:txBody>
      </p:sp>
      <p:pic>
        <p:nvPicPr>
          <p:cNvPr id="1026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756" y="9004718"/>
            <a:ext cx="1808663" cy="180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9" name="CuadroTexto 638"/>
          <p:cNvSpPr txBox="1"/>
          <p:nvPr/>
        </p:nvSpPr>
        <p:spPr>
          <a:xfrm>
            <a:off x="4094613" y="8909320"/>
            <a:ext cx="11523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9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1079185" y="8905046"/>
            <a:ext cx="18559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27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410780" y="8945570"/>
            <a:ext cx="10803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1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3" name="CuadroTexto 642"/>
          <p:cNvSpPr txBox="1"/>
          <p:nvPr/>
        </p:nvSpPr>
        <p:spPr>
          <a:xfrm>
            <a:off x="10754642" y="8927703"/>
            <a:ext cx="10892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6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4" name="CuadroTexto 643"/>
          <p:cNvSpPr txBox="1"/>
          <p:nvPr/>
        </p:nvSpPr>
        <p:spPr>
          <a:xfrm>
            <a:off x="3422926" y="1056052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rbanz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5" name="CuadroTexto 644"/>
          <p:cNvSpPr txBox="1"/>
          <p:nvPr/>
        </p:nvSpPr>
        <p:spPr>
          <a:xfrm>
            <a:off x="9998006" y="1053943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ro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355313" y="105674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4273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740778" y="1141157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2" name="CuadroTexto 641"/>
          <p:cNvSpPr txBox="1"/>
          <p:nvPr/>
        </p:nvSpPr>
        <p:spPr>
          <a:xfrm>
            <a:off x="8755239" y="8946311"/>
            <a:ext cx="1046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200" b="1" dirty="0">
                <a:solidFill>
                  <a:srgbClr val="3C5C4F"/>
                </a:solidFill>
              </a:rPr>
              <a:t>10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35" name="CuadroTexto 634"/>
          <p:cNvSpPr txBox="1"/>
          <p:nvPr/>
        </p:nvSpPr>
        <p:spPr>
          <a:xfrm>
            <a:off x="10228175" y="1496592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2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7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5369313" y="105605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ijol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pic>
        <p:nvPicPr>
          <p:cNvPr id="59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8" y="9305133"/>
            <a:ext cx="2957137" cy="145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Garbanzo (250g) – El Buen Campo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4444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8" t="21333" r="9851" b="20888"/>
          <a:stretch/>
        </p:blipFill>
        <p:spPr bwMode="auto">
          <a:xfrm>
            <a:off x="3273242" y="9314034"/>
            <a:ext cx="1916029" cy="127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CuadroTexto 64"/>
          <p:cNvSpPr txBox="1"/>
          <p:nvPr/>
        </p:nvSpPr>
        <p:spPr>
          <a:xfrm>
            <a:off x="7366396" y="1053943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1038" name="Picture 14" descr="Círculo De Frijoles Rojos Sobre Fondo Marrón Vinilo. Fotos, Retratos,  Imágenes Y Fotografía De Archivo Libres De Derecho. Image 37552914.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3385" l="6462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863" y="9284835"/>
            <a:ext cx="1382855" cy="138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lustración de Bandera De Chile En Forma De Cinta De Ondas y más Vectores  Libres de Derechos de Celebración - Ocasión especial - iStock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308" t="43459" r="24085" b="31061"/>
          <a:stretch/>
        </p:blipFill>
        <p:spPr bwMode="auto">
          <a:xfrm>
            <a:off x="10163176" y="2859375"/>
            <a:ext cx="2029290" cy="3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2" name="CuadroTexto 631"/>
          <p:cNvSpPr txBox="1"/>
          <p:nvPr/>
        </p:nvSpPr>
        <p:spPr>
          <a:xfrm>
            <a:off x="3439770" y="1496592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5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1%</a:t>
            </a:r>
            <a:endParaRPr lang="es-MX" sz="3200" dirty="0">
              <a:solidFill>
                <a:srgbClr val="3C5C4F"/>
              </a:solidFill>
            </a:endParaRPr>
          </a:p>
        </p:txBody>
      </p:sp>
      <p:pic>
        <p:nvPicPr>
          <p:cNvPr id="2" name="Picture 2" descr="Corte de arroz fotografías e imágenes de alta resolución - Alam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901" b="89958" l="3615" r="9707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954" y="9320171"/>
            <a:ext cx="2289131" cy="133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CuadroTexto 56"/>
          <p:cNvSpPr txBox="1"/>
          <p:nvPr/>
        </p:nvSpPr>
        <p:spPr>
          <a:xfrm>
            <a:off x="8745348" y="4784506"/>
            <a:ext cx="3446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 3,103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graphicFrame>
        <p:nvGraphicFramePr>
          <p:cNvPr id="46" name="Gráfico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4384558"/>
              </p:ext>
            </p:extLst>
          </p:nvPr>
        </p:nvGraphicFramePr>
        <p:xfrm>
          <a:off x="59491" y="4969092"/>
          <a:ext cx="12024594" cy="3236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53" name="Gráfico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0572136"/>
              </p:ext>
            </p:extLst>
          </p:nvPr>
        </p:nvGraphicFramePr>
        <p:xfrm>
          <a:off x="261029" y="11575411"/>
          <a:ext cx="5857874" cy="4684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60" name="Gráfico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5475045"/>
              </p:ext>
            </p:extLst>
          </p:nvPr>
        </p:nvGraphicFramePr>
        <p:xfrm>
          <a:off x="6245669" y="11575672"/>
          <a:ext cx="5728608" cy="4644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val="368898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12" descr="Archivo:Logo of the United States Department of Agriculture.svg -  Wikipedia, la enciclopedia libre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2" y="2957380"/>
            <a:ext cx="6357764" cy="3577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6375916" y="3083658"/>
            <a:ext cx="3177386" cy="2765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ángulo redondeado 46"/>
          <p:cNvSpPr/>
          <p:nvPr/>
        </p:nvSpPr>
        <p:spPr>
          <a:xfrm>
            <a:off x="9381980" y="2566434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Autoridades </a:t>
            </a:r>
            <a:r>
              <a:rPr lang="es-MX" sz="1600" dirty="0">
                <a:solidFill>
                  <a:srgbClr val="3C5C4F"/>
                </a:solidFill>
                <a:latin typeface="Monserrat"/>
              </a:rPr>
              <a:t>USDA - AGRICULTUR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9381981" y="3222967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9388906" y="4568409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9375050" y="3889539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9361194" y="5247286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9368125" y="5898451"/>
            <a:ext cx="263338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2" y="2030467"/>
            <a:ext cx="9253251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EEUU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962703" y="2599180"/>
            <a:ext cx="3318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 92,611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1347817" y="6925930"/>
            <a:ext cx="4641269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16953" y="10126326"/>
            <a:ext cx="5282841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312726" y="10120620"/>
            <a:ext cx="389312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4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103599"/>
            <a:ext cx="1060355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  <a:latin typeface="Montserrat" panose="00000500000000000000" pitchFamily="2" charset="0"/>
              </a:rPr>
              <a:t>50</a:t>
            </a:r>
          </a:p>
        </p:txBody>
      </p:sp>
      <p:sp>
        <p:nvSpPr>
          <p:cNvPr id="637" name="Rectángulo 636"/>
          <p:cNvSpPr/>
          <p:nvPr/>
        </p:nvSpPr>
        <p:spPr>
          <a:xfrm>
            <a:off x="7003167" y="10117848"/>
            <a:ext cx="1280337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  <a:latin typeface="Montserrat" panose="00000500000000000000" pitchFamily="2" charset="0"/>
              </a:rPr>
              <a:t>610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6923895"/>
            <a:ext cx="1321481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</a:rPr>
              <a:t>142</a:t>
            </a:r>
          </a:p>
        </p:txBody>
      </p:sp>
      <p:pic>
        <p:nvPicPr>
          <p:cNvPr id="1026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633" y="7670696"/>
            <a:ext cx="2188482" cy="218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9" name="CuadroTexto 638"/>
          <p:cNvSpPr txBox="1"/>
          <p:nvPr/>
        </p:nvSpPr>
        <p:spPr>
          <a:xfrm>
            <a:off x="3751713" y="7404370"/>
            <a:ext cx="1152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5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1079185" y="7400096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5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140905" y="7398527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4%</a:t>
            </a:r>
            <a:endParaRPr lang="es-MX" sz="3600" dirty="0">
              <a:solidFill>
                <a:srgbClr val="3C5C4F"/>
              </a:solidFill>
            </a:endParaRPr>
          </a:p>
        </p:txBody>
      </p:sp>
      <p:pic>
        <p:nvPicPr>
          <p:cNvPr id="1034" name="Picture 10" descr="Limón Sutil | El Huerto Empori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1" t="12817" r="14312" b="11546"/>
          <a:stretch/>
        </p:blipFill>
        <p:spPr bwMode="auto">
          <a:xfrm>
            <a:off x="7335959" y="7780425"/>
            <a:ext cx="1717505" cy="178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3" name="CuadroTexto 642"/>
          <p:cNvSpPr txBox="1"/>
          <p:nvPr/>
        </p:nvSpPr>
        <p:spPr>
          <a:xfrm>
            <a:off x="10640342" y="7422753"/>
            <a:ext cx="10892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7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4" name="CuadroTexto 643"/>
          <p:cNvSpPr txBox="1"/>
          <p:nvPr/>
        </p:nvSpPr>
        <p:spPr>
          <a:xfrm>
            <a:off x="9873620" y="958897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ranj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5" name="CuadroTexto 644"/>
          <p:cNvSpPr txBox="1"/>
          <p:nvPr/>
        </p:nvSpPr>
        <p:spPr>
          <a:xfrm>
            <a:off x="5296897" y="956788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442399" y="959588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pay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8" name="CuadroTexto 647"/>
          <p:cNvSpPr txBox="1"/>
          <p:nvPr/>
        </p:nvSpPr>
        <p:spPr>
          <a:xfrm>
            <a:off x="7433560" y="9566630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món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05510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740778" y="1050319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28299" y="15912213"/>
            <a:ext cx="66293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a: </a:t>
            </a:r>
          </a:p>
          <a:p>
            <a:r>
              <a:rPr lang="es-MX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CF UAPLCE BC.-  Módulo de Certificación Fitosanitaria Unión Agrícola de Productores de Legumbres de la Costa de Ensenada, Baja California.</a:t>
            </a:r>
          </a:p>
        </p:txBody>
      </p:sp>
      <p:sp>
        <p:nvSpPr>
          <p:cNvPr id="642" name="CuadroTexto 641"/>
          <p:cNvSpPr txBox="1"/>
          <p:nvPr/>
        </p:nvSpPr>
        <p:spPr>
          <a:xfrm>
            <a:off x="8423223" y="7441361"/>
            <a:ext cx="1046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9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35" name="CuadroTexto 634"/>
          <p:cNvSpPr txBox="1"/>
          <p:nvPr/>
        </p:nvSpPr>
        <p:spPr>
          <a:xfrm>
            <a:off x="10256264" y="1490877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2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36%</a:t>
            </a:r>
            <a:endParaRPr lang="es-MX" sz="3200" dirty="0">
              <a:solidFill>
                <a:srgbClr val="3C5C4F"/>
              </a:solidFill>
            </a:endParaRPr>
          </a:p>
        </p:txBody>
      </p:sp>
      <p:pic>
        <p:nvPicPr>
          <p:cNvPr id="2" name="Picture 2" descr="Dio la naranja el nombre al color o el color se lo cedió a la fruta? -  Historias de la Historia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96" b="98806" l="0" r="981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048" y="7863796"/>
            <a:ext cx="2966915" cy="163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CuadroTexto 55"/>
          <p:cNvSpPr txBox="1"/>
          <p:nvPr/>
        </p:nvSpPr>
        <p:spPr>
          <a:xfrm>
            <a:off x="3082428" y="958897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ócoli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pic>
        <p:nvPicPr>
          <p:cNvPr id="7" name="Picture 6" descr="Papaya hawaiana x kg - La Canasta Campesin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17" t="26182" r="10697" b="23636"/>
          <a:stretch/>
        </p:blipFill>
        <p:spPr bwMode="auto">
          <a:xfrm>
            <a:off x="66746" y="7987418"/>
            <a:ext cx="2326769" cy="1621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ndera De Los E.E.U.U. Bajo La Forma De Cinta De La Onda Ilustración del  Vector - Ilustración de rojo, concepto: 107460041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592" t="44313" r="23783" b="29184"/>
          <a:stretch/>
        </p:blipFill>
        <p:spPr bwMode="auto">
          <a:xfrm>
            <a:off x="9253250" y="2047446"/>
            <a:ext cx="2793869" cy="47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Brocoli Coronas 1 kg | H-E-B Méxic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2254" b="93648" l="1429" r="9742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59" y="7761653"/>
            <a:ext cx="2124472" cy="178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2" name="CuadroTexto 631"/>
          <p:cNvSpPr txBox="1"/>
          <p:nvPr/>
        </p:nvSpPr>
        <p:spPr>
          <a:xfrm>
            <a:off x="3606853" y="1490877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5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84%</a:t>
            </a:r>
            <a:endParaRPr lang="es-MX" sz="3200" dirty="0">
              <a:solidFill>
                <a:srgbClr val="3C5C4F"/>
              </a:solidFill>
            </a:endParaRPr>
          </a:p>
        </p:txBody>
      </p:sp>
      <p:graphicFrame>
        <p:nvGraphicFramePr>
          <p:cNvPr id="45" name="Gráfico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0650384"/>
              </p:ext>
            </p:extLst>
          </p:nvPr>
        </p:nvGraphicFramePr>
        <p:xfrm>
          <a:off x="51800" y="2986625"/>
          <a:ext cx="6324115" cy="3648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9" name="Gráfico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2561026"/>
              </p:ext>
            </p:extLst>
          </p:nvPr>
        </p:nvGraphicFramePr>
        <p:xfrm>
          <a:off x="10342" y="10710899"/>
          <a:ext cx="5848525" cy="5442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60" name="Gráfico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407575"/>
              </p:ext>
            </p:extLst>
          </p:nvPr>
        </p:nvGraphicFramePr>
        <p:xfrm>
          <a:off x="5518286" y="10792132"/>
          <a:ext cx="6694715" cy="5343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2889954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Ministerio, La Agricultura, Zona Rural imagen png - imagen transparente  descarga gratuita"/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00" b="994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658" t="5881" r="28237" b="6366"/>
          <a:stretch/>
        </p:blipFill>
        <p:spPr bwMode="auto">
          <a:xfrm>
            <a:off x="445455" y="3037165"/>
            <a:ext cx="4569288" cy="443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5385792" y="3137726"/>
            <a:ext cx="3495125" cy="304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ángulo redondeado 47"/>
          <p:cNvSpPr/>
          <p:nvPr/>
        </p:nvSpPr>
        <p:spPr>
          <a:xfrm>
            <a:off x="8976798" y="3375367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8983723" y="472080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8969867" y="404193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8956011" y="5399686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8962942" y="6050851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1" y="2030467"/>
            <a:ext cx="8749146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GUATEMALA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147990" y="2793313"/>
            <a:ext cx="1702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950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432" y="10716876"/>
            <a:ext cx="480258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461654" y="10749270"/>
            <a:ext cx="353920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732249"/>
            <a:ext cx="1060355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28</a:t>
            </a:r>
            <a:endParaRPr lang="es-MX" sz="48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159367" y="10746498"/>
            <a:ext cx="1280337" cy="76944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400" b="1" dirty="0">
                <a:solidFill>
                  <a:schemeClr val="bg1"/>
                </a:solidFill>
                <a:latin typeface="Montserrat" panose="00000500000000000000" pitchFamily="2" charset="0"/>
              </a:rPr>
              <a:t>39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7552545"/>
            <a:ext cx="1321481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29</a:t>
            </a:r>
          </a:p>
        </p:txBody>
      </p:sp>
      <p:sp>
        <p:nvSpPr>
          <p:cNvPr id="644" name="CuadroTexto 643"/>
          <p:cNvSpPr txBox="1"/>
          <p:nvPr/>
        </p:nvSpPr>
        <p:spPr>
          <a:xfrm>
            <a:off x="3195352" y="1021762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463263" y="102245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ig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2749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917760" y="11214151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5840237" y="102176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mpiñón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sp>
        <p:nvSpPr>
          <p:cNvPr id="46" name="Rectángulo redondeado 45"/>
          <p:cNvSpPr/>
          <p:nvPr/>
        </p:nvSpPr>
        <p:spPr>
          <a:xfrm>
            <a:off x="8976797" y="2718834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Autoridades MAGA - AGRUCULTURA</a:t>
            </a:r>
          </a:p>
        </p:txBody>
      </p:sp>
      <p:pic>
        <p:nvPicPr>
          <p:cNvPr id="1032" name="Picture 8" descr="Trigo duro Gallareta 40 Kg (palet 1.6 ton) R2 - La tienda de las jaras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0000" l="5333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74" r="13213" b="10591"/>
          <a:stretch/>
        </p:blipFill>
        <p:spPr bwMode="auto">
          <a:xfrm>
            <a:off x="68431" y="8386373"/>
            <a:ext cx="2114550" cy="238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458" y="8776325"/>
            <a:ext cx="3252851" cy="1600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hampiñón Portobell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571" r="991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411" y="8541603"/>
            <a:ext cx="2124472" cy="212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Bandera De Guatemala Bajo La Forma De Cinta De La Onda Ilustración del  Vector - Ilustración de independencia, historia: 14493216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5" t="38057" r="23975" b="38050"/>
          <a:stretch/>
        </p:blipFill>
        <p:spPr bwMode="auto">
          <a:xfrm>
            <a:off x="8749146" y="2006993"/>
            <a:ext cx="2991388" cy="536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CuadroTexto 46"/>
          <p:cNvSpPr txBox="1"/>
          <p:nvPr/>
        </p:nvSpPr>
        <p:spPr>
          <a:xfrm>
            <a:off x="2958412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4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10107086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1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12" name="Rectángulo 611"/>
          <p:cNvSpPr/>
          <p:nvPr/>
        </p:nvSpPr>
        <p:spPr>
          <a:xfrm>
            <a:off x="1341732" y="7550043"/>
            <a:ext cx="4219335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9" name="CuadroTexto 638"/>
          <p:cNvSpPr txBox="1"/>
          <p:nvPr/>
        </p:nvSpPr>
        <p:spPr>
          <a:xfrm>
            <a:off x="3733689" y="8299720"/>
            <a:ext cx="1152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22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748985" y="8295446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55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484145" y="8292428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6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10472101" y="8390569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2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8612153" y="10215781"/>
            <a:ext cx="8159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esa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2" name="Picture 2" descr="Precio de la Fresa -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855" l="9908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231" y="8991769"/>
            <a:ext cx="2088603" cy="133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CuadroTexto 58"/>
          <p:cNvSpPr txBox="1"/>
          <p:nvPr/>
        </p:nvSpPr>
        <p:spPr>
          <a:xfrm>
            <a:off x="10702202" y="10191236"/>
            <a:ext cx="987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d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8594721" y="8372244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3%</a:t>
            </a:r>
            <a:endParaRPr lang="es-MX" sz="3600" dirty="0">
              <a:solidFill>
                <a:srgbClr val="3C5C4F"/>
              </a:solidFill>
            </a:endParaRPr>
          </a:p>
        </p:txBody>
      </p:sp>
      <p:pic>
        <p:nvPicPr>
          <p:cNvPr id="3" name="Picture 2" descr="Uva, fruta milenaria llena de propiedades saludables - Fundación Española  del Corazón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6903" b="93097" l="1767" r="979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368" y="8757145"/>
            <a:ext cx="1880965" cy="155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3" name="Gráfico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8887537"/>
              </p:ext>
            </p:extLst>
          </p:nvPr>
        </p:nvGraphicFramePr>
        <p:xfrm>
          <a:off x="27292" y="3416457"/>
          <a:ext cx="5562119" cy="3755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4" name="Gráfico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161674"/>
              </p:ext>
            </p:extLst>
          </p:nvPr>
        </p:nvGraphicFramePr>
        <p:xfrm>
          <a:off x="60662" y="11387844"/>
          <a:ext cx="5606944" cy="4868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63" name="Gráfico 6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0502258"/>
              </p:ext>
            </p:extLst>
          </p:nvPr>
        </p:nvGraphicFramePr>
        <p:xfrm>
          <a:off x="5384572" y="11382944"/>
          <a:ext cx="6687512" cy="4729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391306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/>
          <a:srcRect l="1803" t="12328" r="1460" b="11566"/>
          <a:stretch/>
        </p:blipFill>
        <p:spPr>
          <a:xfrm>
            <a:off x="8728145" y="1999601"/>
            <a:ext cx="2974607" cy="600075"/>
          </a:xfrm>
          <a:prstGeom prst="rect">
            <a:avLst/>
          </a:prstGeom>
        </p:spPr>
      </p:pic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5385792" y="3137726"/>
            <a:ext cx="3495125" cy="304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20" y="3425240"/>
            <a:ext cx="5331414" cy="2964133"/>
          </a:xfrm>
          <a:prstGeom prst="rect">
            <a:avLst/>
          </a:prstGeom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8976798" y="3375367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8983723" y="472080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8969867" y="404193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8956011" y="5399686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8962942" y="6050851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1" y="2030467"/>
            <a:ext cx="8749146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COSTA RICA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147990" y="2793313"/>
            <a:ext cx="1702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153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432" y="10716876"/>
            <a:ext cx="480258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461654" y="10749270"/>
            <a:ext cx="353920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732249"/>
            <a:ext cx="1060355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17</a:t>
            </a:r>
            <a:endParaRPr lang="es-MX" sz="48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159367" y="10746498"/>
            <a:ext cx="1280337" cy="76944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400" b="1">
                <a:solidFill>
                  <a:schemeClr val="bg1"/>
                </a:solidFill>
                <a:latin typeface="Montserrat" panose="00000500000000000000" pitchFamily="2" charset="0"/>
              </a:rPr>
              <a:t>31</a:t>
            </a:r>
            <a:endParaRPr lang="es-MX" sz="44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638" name="Rectángulo 637"/>
          <p:cNvSpPr/>
          <p:nvPr/>
        </p:nvSpPr>
        <p:spPr>
          <a:xfrm>
            <a:off x="-5748" y="7552545"/>
            <a:ext cx="1321481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10</a:t>
            </a:r>
          </a:p>
        </p:txBody>
      </p:sp>
      <p:sp>
        <p:nvSpPr>
          <p:cNvPr id="644" name="CuadroTexto 643"/>
          <p:cNvSpPr txBox="1"/>
          <p:nvPr/>
        </p:nvSpPr>
        <p:spPr>
          <a:xfrm>
            <a:off x="10125532" y="10286444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5035263" y="102245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rbanz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2749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917760" y="11214151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sp>
        <p:nvSpPr>
          <p:cNvPr id="46" name="Rectángulo redondeado 45"/>
          <p:cNvSpPr/>
          <p:nvPr/>
        </p:nvSpPr>
        <p:spPr>
          <a:xfrm>
            <a:off x="8976797" y="2718834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Autoridades MAG - AGRICULTURA</a:t>
            </a:r>
          </a:p>
        </p:txBody>
      </p:sp>
      <p:pic>
        <p:nvPicPr>
          <p:cNvPr id="5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1583" y="8812480"/>
            <a:ext cx="2688306" cy="155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CuadroTexto 46"/>
          <p:cNvSpPr txBox="1"/>
          <p:nvPr/>
        </p:nvSpPr>
        <p:spPr>
          <a:xfrm>
            <a:off x="3213592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89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10107086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7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12" name="Rectángulo 611"/>
          <p:cNvSpPr/>
          <p:nvPr/>
        </p:nvSpPr>
        <p:spPr>
          <a:xfrm>
            <a:off x="1341732" y="7550043"/>
            <a:ext cx="4219335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40" name="CuadroTexto 639"/>
          <p:cNvSpPr txBox="1"/>
          <p:nvPr/>
        </p:nvSpPr>
        <p:spPr>
          <a:xfrm>
            <a:off x="322352" y="8292428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65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5653574" y="8298106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8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10486171" y="8286385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3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7646336" y="10224539"/>
            <a:ext cx="1256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chug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8073913" y="8286385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5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3229040" y="8320418"/>
            <a:ext cx="11523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5" name="CuadroTexto 64"/>
          <p:cNvSpPr txBox="1"/>
          <p:nvPr/>
        </p:nvSpPr>
        <p:spPr>
          <a:xfrm>
            <a:off x="2813773" y="10290333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pino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66" name="Picture 2" descr="Garbanzo (250g) – El Buen Camp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4444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8" t="21333" r="9851" b="20888"/>
          <a:stretch/>
        </p:blipFill>
        <p:spPr bwMode="auto">
          <a:xfrm>
            <a:off x="4713182" y="8869089"/>
            <a:ext cx="1916029" cy="127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epino – IANSA Fertilizantes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961" b="89844" l="58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729" b="15903"/>
          <a:stretch/>
        </p:blipFill>
        <p:spPr bwMode="auto">
          <a:xfrm>
            <a:off x="2414100" y="8729554"/>
            <a:ext cx="2122667" cy="1613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5" y="8485753"/>
            <a:ext cx="2188482" cy="218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CuadroTexto 68"/>
          <p:cNvSpPr txBox="1"/>
          <p:nvPr/>
        </p:nvSpPr>
        <p:spPr>
          <a:xfrm>
            <a:off x="90333" y="10274426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1026" name="Picture 2" descr="Lactuca sativa L: tipos y variedades que se producen en México | Servicio  de Información Agroalimentaria y Pesquera | Gobierno | gob.mx"/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143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174" y="8578365"/>
            <a:ext cx="1872040" cy="1710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3" name="Gráfico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4041359"/>
              </p:ext>
            </p:extLst>
          </p:nvPr>
        </p:nvGraphicFramePr>
        <p:xfrm>
          <a:off x="134912" y="3411068"/>
          <a:ext cx="5446939" cy="3753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45" name="Gráfico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115856"/>
              </p:ext>
            </p:extLst>
          </p:nvPr>
        </p:nvGraphicFramePr>
        <p:xfrm>
          <a:off x="55855" y="11387844"/>
          <a:ext cx="5083469" cy="4868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3" name="Gráfico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5362528"/>
              </p:ext>
            </p:extLst>
          </p:nvPr>
        </p:nvGraphicFramePr>
        <p:xfrm>
          <a:off x="5420701" y="11491056"/>
          <a:ext cx="6691994" cy="4648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233619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8" name="Picture 20" descr="Contactos Mesa de Servicio VUCEM – Blog CJAduanero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6" y="2012696"/>
            <a:ext cx="4496770" cy="146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59" name="Rectángulo 58"/>
          <p:cNvSpPr/>
          <p:nvPr/>
        </p:nvSpPr>
        <p:spPr>
          <a:xfrm>
            <a:off x="4461919" y="2059162"/>
            <a:ext cx="7677368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pPr algn="r"/>
            <a:r>
              <a:rPr lang="es-MX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 </a:t>
            </a:r>
            <a:r>
              <a:rPr lang="es-MX" sz="2400" b="1" dirty="0">
                <a:solidFill>
                  <a:schemeClr val="bg1"/>
                </a:solidFill>
              </a:rPr>
              <a:t>EJERCICIOS DE EXPEDICIÓN DEL CFI EN VENTANILLA ÚNICA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5855485" y="2644529"/>
            <a:ext cx="593646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105,974     </a:t>
            </a:r>
          </a:p>
          <a:p>
            <a:pPr algn="ctr"/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Ejercicios realizados en VUCEM</a:t>
            </a:r>
            <a:endParaRPr lang="es-MX" sz="2400" dirty="0">
              <a:solidFill>
                <a:schemeClr val="accent5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/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rPr>
              <a:t>2013-2024</a:t>
            </a:r>
          </a:p>
        </p:txBody>
      </p:sp>
      <p:sp>
        <p:nvSpPr>
          <p:cNvPr id="6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59948" y="7959569"/>
            <a:ext cx="33337" cy="57150"/>
          </a:xfrm>
          <a:custGeom>
            <a:avLst/>
            <a:gdLst>
              <a:gd name="T0" fmla="*/ 0 w 73"/>
              <a:gd name="T1" fmla="*/ 0 h 20"/>
              <a:gd name="T2" fmla="*/ 208699 w 73"/>
              <a:gd name="T3" fmla="*/ 40827960 h 20"/>
              <a:gd name="T4" fmla="*/ 834338 w 73"/>
              <a:gd name="T5" fmla="*/ 81653063 h 20"/>
              <a:gd name="T6" fmla="*/ 1668220 w 73"/>
              <a:gd name="T7" fmla="*/ 114314288 h 20"/>
              <a:gd name="T8" fmla="*/ 2711257 w 73"/>
              <a:gd name="T9" fmla="*/ 163306125 h 20"/>
              <a:gd name="T10" fmla="*/ 3336897 w 73"/>
              <a:gd name="T11" fmla="*/ 138811635 h 20"/>
              <a:gd name="T12" fmla="*/ 3962536 w 73"/>
              <a:gd name="T13" fmla="*/ 106150410 h 20"/>
              <a:gd name="T14" fmla="*/ 4796418 w 73"/>
              <a:gd name="T15" fmla="*/ 89819798 h 20"/>
              <a:gd name="T16" fmla="*/ 5630756 w 73"/>
              <a:gd name="T17" fmla="*/ 81653063 h 20"/>
              <a:gd name="T18" fmla="*/ 7507675 w 73"/>
              <a:gd name="T19" fmla="*/ 65322450 h 20"/>
              <a:gd name="T20" fmla="*/ 9593293 w 73"/>
              <a:gd name="T21" fmla="*/ 57158573 h 20"/>
              <a:gd name="T22" fmla="*/ 11261513 w 73"/>
              <a:gd name="T23" fmla="*/ 57158573 h 20"/>
              <a:gd name="T24" fmla="*/ 13138431 w 73"/>
              <a:gd name="T25" fmla="*/ 48991838 h 20"/>
              <a:gd name="T26" fmla="*/ 13764071 w 73"/>
              <a:gd name="T27" fmla="*/ 40827960 h 20"/>
              <a:gd name="T28" fmla="*/ 14389711 w 73"/>
              <a:gd name="T29" fmla="*/ 32661225 h 20"/>
              <a:gd name="T30" fmla="*/ 14807108 w 73"/>
              <a:gd name="T31" fmla="*/ 16330613 h 20"/>
              <a:gd name="T32" fmla="*/ 15224049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67832" y="4060669"/>
            <a:ext cx="784225" cy="446088"/>
          </a:xfrm>
          <a:custGeom>
            <a:avLst/>
            <a:gdLst>
              <a:gd name="T0" fmla="*/ 262457292 w 1808"/>
              <a:gd name="T1" fmla="*/ 222267807 h 850"/>
              <a:gd name="T2" fmla="*/ 262269043 w 1808"/>
              <a:gd name="T3" fmla="*/ 207394708 h 850"/>
              <a:gd name="T4" fmla="*/ 258318423 w 1808"/>
              <a:gd name="T5" fmla="*/ 178475086 h 850"/>
              <a:gd name="T6" fmla="*/ 248911193 w 1808"/>
              <a:gd name="T7" fmla="*/ 176547461 h 850"/>
              <a:gd name="T8" fmla="*/ 237810592 w 1808"/>
              <a:gd name="T9" fmla="*/ 175996411 h 850"/>
              <a:gd name="T10" fmla="*/ 213352575 w 1808"/>
              <a:gd name="T11" fmla="*/ 160297262 h 850"/>
              <a:gd name="T12" fmla="*/ 183061451 w 1808"/>
              <a:gd name="T13" fmla="*/ 147903363 h 850"/>
              <a:gd name="T14" fmla="*/ 177417460 w 1808"/>
              <a:gd name="T15" fmla="*/ 138814189 h 850"/>
              <a:gd name="T16" fmla="*/ 169515352 w 1808"/>
              <a:gd name="T17" fmla="*/ 142119438 h 850"/>
              <a:gd name="T18" fmla="*/ 159732058 w 1808"/>
              <a:gd name="T19" fmla="*/ 156992012 h 850"/>
              <a:gd name="T20" fmla="*/ 126995436 w 1808"/>
              <a:gd name="T21" fmla="*/ 170488011 h 850"/>
              <a:gd name="T22" fmla="*/ 127559748 w 1808"/>
              <a:gd name="T23" fmla="*/ 159195687 h 850"/>
              <a:gd name="T24" fmla="*/ 135650105 w 1808"/>
              <a:gd name="T25" fmla="*/ 150933088 h 850"/>
              <a:gd name="T26" fmla="*/ 147879330 w 1808"/>
              <a:gd name="T27" fmla="*/ 150106513 h 850"/>
              <a:gd name="T28" fmla="*/ 136214417 w 1808"/>
              <a:gd name="T29" fmla="*/ 145424163 h 850"/>
              <a:gd name="T30" fmla="*/ 108745722 w 1808"/>
              <a:gd name="T31" fmla="*/ 162225412 h 850"/>
              <a:gd name="T32" fmla="*/ 102913482 w 1808"/>
              <a:gd name="T33" fmla="*/ 172140636 h 850"/>
              <a:gd name="T34" fmla="*/ 98962428 w 1808"/>
              <a:gd name="T35" fmla="*/ 179026135 h 850"/>
              <a:gd name="T36" fmla="*/ 85039832 w 1808"/>
              <a:gd name="T37" fmla="*/ 180127710 h 850"/>
              <a:gd name="T38" fmla="*/ 72058046 w 1808"/>
              <a:gd name="T39" fmla="*/ 193348184 h 850"/>
              <a:gd name="T40" fmla="*/ 47411780 w 1808"/>
              <a:gd name="T41" fmla="*/ 206568658 h 850"/>
              <a:gd name="T42" fmla="*/ 19754836 w 1808"/>
              <a:gd name="T43" fmla="*/ 222267807 h 850"/>
              <a:gd name="T44" fmla="*/ 752561 w 1808"/>
              <a:gd name="T45" fmla="*/ 223920432 h 850"/>
              <a:gd name="T46" fmla="*/ 2634181 w 1808"/>
              <a:gd name="T47" fmla="*/ 217310457 h 850"/>
              <a:gd name="T48" fmla="*/ 23894139 w 1808"/>
              <a:gd name="T49" fmla="*/ 209598383 h 850"/>
              <a:gd name="T50" fmla="*/ 49857278 w 1808"/>
              <a:gd name="T51" fmla="*/ 191695559 h 850"/>
              <a:gd name="T52" fmla="*/ 56442512 w 1808"/>
              <a:gd name="T53" fmla="*/ 172416161 h 850"/>
              <a:gd name="T54" fmla="*/ 47599595 w 1808"/>
              <a:gd name="T55" fmla="*/ 180954285 h 850"/>
              <a:gd name="T56" fmla="*/ 28221256 w 1808"/>
              <a:gd name="T57" fmla="*/ 177097986 h 850"/>
              <a:gd name="T58" fmla="*/ 32360125 w 1808"/>
              <a:gd name="T59" fmla="*/ 168009336 h 850"/>
              <a:gd name="T60" fmla="*/ 45154097 w 1808"/>
              <a:gd name="T61" fmla="*/ 150657563 h 850"/>
              <a:gd name="T62" fmla="*/ 28597320 w 1808"/>
              <a:gd name="T63" fmla="*/ 158369112 h 850"/>
              <a:gd name="T64" fmla="*/ 26904383 w 1808"/>
              <a:gd name="T65" fmla="*/ 147627838 h 850"/>
              <a:gd name="T66" fmla="*/ 65096748 w 1808"/>
              <a:gd name="T67" fmla="*/ 104661691 h 850"/>
              <a:gd name="T68" fmla="*/ 83534710 w 1808"/>
              <a:gd name="T69" fmla="*/ 105212216 h 850"/>
              <a:gd name="T70" fmla="*/ 107052351 w 1808"/>
              <a:gd name="T71" fmla="*/ 96123042 h 850"/>
              <a:gd name="T72" fmla="*/ 111379903 w 1808"/>
              <a:gd name="T73" fmla="*/ 84280193 h 850"/>
              <a:gd name="T74" fmla="*/ 95199623 w 1808"/>
              <a:gd name="T75" fmla="*/ 91165693 h 850"/>
              <a:gd name="T76" fmla="*/ 82406085 w 1808"/>
              <a:gd name="T77" fmla="*/ 87584918 h 850"/>
              <a:gd name="T78" fmla="*/ 88802637 w 1808"/>
              <a:gd name="T79" fmla="*/ 79046794 h 850"/>
              <a:gd name="T80" fmla="*/ 133768485 w 1808"/>
              <a:gd name="T81" fmla="*/ 65551320 h 850"/>
              <a:gd name="T82" fmla="*/ 140918032 w 1808"/>
              <a:gd name="T83" fmla="*/ 57839245 h 850"/>
              <a:gd name="T84" fmla="*/ 128688807 w 1808"/>
              <a:gd name="T85" fmla="*/ 48474546 h 850"/>
              <a:gd name="T86" fmla="*/ 139036413 w 1808"/>
              <a:gd name="T87" fmla="*/ 30021198 h 850"/>
              <a:gd name="T88" fmla="*/ 185883880 w 1808"/>
              <a:gd name="T89" fmla="*/ 7436549 h 850"/>
              <a:gd name="T90" fmla="*/ 217679693 w 1808"/>
              <a:gd name="T91" fmla="*/ 2478675 h 850"/>
              <a:gd name="T92" fmla="*/ 240256524 w 1808"/>
              <a:gd name="T93" fmla="*/ 551050 h 850"/>
              <a:gd name="T94" fmla="*/ 254743433 w 1808"/>
              <a:gd name="T95" fmla="*/ 2754200 h 850"/>
              <a:gd name="T96" fmla="*/ 285222372 w 1808"/>
              <a:gd name="T97" fmla="*/ 9364699 h 850"/>
              <a:gd name="T98" fmla="*/ 331317279 w 1808"/>
              <a:gd name="T99" fmla="*/ 11292324 h 850"/>
              <a:gd name="T100" fmla="*/ 242138144 w 1808"/>
              <a:gd name="T101" fmla="*/ 148729413 h 850"/>
              <a:gd name="T102" fmla="*/ 248534696 w 1808"/>
              <a:gd name="T103" fmla="*/ 157267537 h 850"/>
              <a:gd name="T104" fmla="*/ 249663754 w 1808"/>
              <a:gd name="T105" fmla="*/ 165530137 h 850"/>
              <a:gd name="T106" fmla="*/ 260011360 w 1808"/>
              <a:gd name="T107" fmla="*/ 164979611 h 850"/>
              <a:gd name="T108" fmla="*/ 268854278 w 1808"/>
              <a:gd name="T109" fmla="*/ 158920162 h 850"/>
              <a:gd name="T110" fmla="*/ 277508513 w 1808"/>
              <a:gd name="T111" fmla="*/ 183708485 h 850"/>
              <a:gd name="T112" fmla="*/ 275063015 w 1808"/>
              <a:gd name="T113" fmla="*/ 194449759 h 850"/>
              <a:gd name="T114" fmla="*/ 272617083 w 1808"/>
              <a:gd name="T115" fmla="*/ 204365508 h 850"/>
              <a:gd name="T116" fmla="*/ 277885010 w 1808"/>
              <a:gd name="T117" fmla="*/ 215657832 h 850"/>
              <a:gd name="T118" fmla="*/ 277885010 w 1808"/>
              <a:gd name="T119" fmla="*/ 223369382 h 850"/>
              <a:gd name="T120" fmla="*/ 268289532 w 1808"/>
              <a:gd name="T121" fmla="*/ 233560131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28207" y="4676619"/>
            <a:ext cx="1381125" cy="769938"/>
          </a:xfrm>
          <a:custGeom>
            <a:avLst/>
            <a:gdLst>
              <a:gd name="T0" fmla="*/ 554050800 w 3175"/>
              <a:gd name="T1" fmla="*/ 96576483 h 1472"/>
              <a:gd name="T2" fmla="*/ 547995600 w 3175"/>
              <a:gd name="T3" fmla="*/ 120378656 h 1472"/>
              <a:gd name="T4" fmla="*/ 537966675 w 3175"/>
              <a:gd name="T5" fmla="*/ 126397458 h 1472"/>
              <a:gd name="T6" fmla="*/ 504663075 w 3175"/>
              <a:gd name="T7" fmla="*/ 154850642 h 1472"/>
              <a:gd name="T8" fmla="*/ 491038875 w 3175"/>
              <a:gd name="T9" fmla="*/ 160048770 h 1472"/>
              <a:gd name="T10" fmla="*/ 486308250 w 3175"/>
              <a:gd name="T11" fmla="*/ 185218733 h 1472"/>
              <a:gd name="T12" fmla="*/ 475711650 w 3175"/>
              <a:gd name="T13" fmla="*/ 169897908 h 1472"/>
              <a:gd name="T14" fmla="*/ 472873275 w 3175"/>
              <a:gd name="T15" fmla="*/ 188774989 h 1472"/>
              <a:gd name="T16" fmla="*/ 466439625 w 3175"/>
              <a:gd name="T17" fmla="*/ 203548697 h 1472"/>
              <a:gd name="T18" fmla="*/ 467574975 w 3175"/>
              <a:gd name="T19" fmla="*/ 225162405 h 1472"/>
              <a:gd name="T20" fmla="*/ 441272700 w 3175"/>
              <a:gd name="T21" fmla="*/ 253889148 h 1472"/>
              <a:gd name="T22" fmla="*/ 409672125 w 3175"/>
              <a:gd name="T23" fmla="*/ 285898588 h 1472"/>
              <a:gd name="T24" fmla="*/ 399643200 w 3175"/>
              <a:gd name="T25" fmla="*/ 326937015 h 1472"/>
              <a:gd name="T26" fmla="*/ 397940175 w 3175"/>
              <a:gd name="T27" fmla="*/ 398616569 h 1472"/>
              <a:gd name="T28" fmla="*/ 383369850 w 3175"/>
              <a:gd name="T29" fmla="*/ 386852524 h 1472"/>
              <a:gd name="T30" fmla="*/ 377125425 w 3175"/>
              <a:gd name="T31" fmla="*/ 362776792 h 1472"/>
              <a:gd name="T32" fmla="*/ 370691775 w 3175"/>
              <a:gd name="T33" fmla="*/ 323927353 h 1472"/>
              <a:gd name="T34" fmla="*/ 346660200 w 3175"/>
              <a:gd name="T35" fmla="*/ 319549900 h 1472"/>
              <a:gd name="T36" fmla="*/ 312788925 w 3175"/>
              <a:gd name="T37" fmla="*/ 312710423 h 1472"/>
              <a:gd name="T38" fmla="*/ 305787600 w 3175"/>
              <a:gd name="T39" fmla="*/ 324474469 h 1472"/>
              <a:gd name="T40" fmla="*/ 292920300 w 3175"/>
              <a:gd name="T41" fmla="*/ 338701061 h 1472"/>
              <a:gd name="T42" fmla="*/ 271727100 w 3175"/>
              <a:gd name="T43" fmla="*/ 326115818 h 1472"/>
              <a:gd name="T44" fmla="*/ 232935975 w 3175"/>
              <a:gd name="T45" fmla="*/ 348003084 h 1472"/>
              <a:gd name="T46" fmla="*/ 219501000 w 3175"/>
              <a:gd name="T47" fmla="*/ 380833722 h 1472"/>
              <a:gd name="T48" fmla="*/ 204363000 w 3175"/>
              <a:gd name="T49" fmla="*/ 378097617 h 1472"/>
              <a:gd name="T50" fmla="*/ 196226325 w 3175"/>
              <a:gd name="T51" fmla="*/ 335691399 h 1472"/>
              <a:gd name="T52" fmla="*/ 177871500 w 3175"/>
              <a:gd name="T53" fmla="*/ 325568702 h 1472"/>
              <a:gd name="T54" fmla="*/ 164058075 w 3175"/>
              <a:gd name="T55" fmla="*/ 333502934 h 1472"/>
              <a:gd name="T56" fmla="*/ 147973950 w 3175"/>
              <a:gd name="T57" fmla="*/ 297389599 h 1472"/>
              <a:gd name="T58" fmla="*/ 126780750 w 3175"/>
              <a:gd name="T59" fmla="*/ 291370274 h 1472"/>
              <a:gd name="T60" fmla="*/ 87421950 w 3175"/>
              <a:gd name="T61" fmla="*/ 291370274 h 1472"/>
              <a:gd name="T62" fmla="*/ 41629500 w 3175"/>
              <a:gd name="T63" fmla="*/ 277964879 h 1472"/>
              <a:gd name="T64" fmla="*/ 16651800 w 3175"/>
              <a:gd name="T65" fmla="*/ 251700160 h 1472"/>
              <a:gd name="T66" fmla="*/ 7379775 w 3175"/>
              <a:gd name="T67" fmla="*/ 232001882 h 1472"/>
              <a:gd name="T68" fmla="*/ 5487525 w 3175"/>
              <a:gd name="T69" fmla="*/ 181114838 h 1472"/>
              <a:gd name="T70" fmla="*/ 0 w 3175"/>
              <a:gd name="T71" fmla="*/ 165246897 h 1472"/>
              <a:gd name="T72" fmla="*/ 26680725 w 3175"/>
              <a:gd name="T73" fmla="*/ 91925471 h 1472"/>
              <a:gd name="T74" fmla="*/ 46738575 w 3175"/>
              <a:gd name="T75" fmla="*/ 48151462 h 1472"/>
              <a:gd name="T76" fmla="*/ 67174875 w 3175"/>
              <a:gd name="T77" fmla="*/ 27906068 h 1472"/>
              <a:gd name="T78" fmla="*/ 71148600 w 3175"/>
              <a:gd name="T79" fmla="*/ 32830638 h 1472"/>
              <a:gd name="T80" fmla="*/ 345714075 w 3175"/>
              <a:gd name="T81" fmla="*/ 0 h 1472"/>
              <a:gd name="T82" fmla="*/ 364447350 w 3175"/>
              <a:gd name="T83" fmla="*/ 15047267 h 1472"/>
              <a:gd name="T84" fmla="*/ 381288375 w 3175"/>
              <a:gd name="T85" fmla="*/ 18877604 h 1472"/>
              <a:gd name="T86" fmla="*/ 365015025 w 3175"/>
              <a:gd name="T87" fmla="*/ 35019103 h 1472"/>
              <a:gd name="T88" fmla="*/ 374097825 w 3175"/>
              <a:gd name="T89" fmla="*/ 45415358 h 1472"/>
              <a:gd name="T90" fmla="*/ 396237150 w 3175"/>
              <a:gd name="T91" fmla="*/ 42406218 h 1472"/>
              <a:gd name="T92" fmla="*/ 432189900 w 3175"/>
              <a:gd name="T93" fmla="*/ 52802474 h 1472"/>
              <a:gd name="T94" fmla="*/ 419511825 w 3175"/>
              <a:gd name="T95" fmla="*/ 55811613 h 1472"/>
              <a:gd name="T96" fmla="*/ 394912575 w 3175"/>
              <a:gd name="T97" fmla="*/ 72227193 h 1472"/>
              <a:gd name="T98" fmla="*/ 382423725 w 3175"/>
              <a:gd name="T99" fmla="*/ 97123599 h 1472"/>
              <a:gd name="T100" fmla="*/ 380720700 w 3175"/>
              <a:gd name="T101" fmla="*/ 123387795 h 1472"/>
              <a:gd name="T102" fmla="*/ 392831100 w 3175"/>
              <a:gd name="T103" fmla="*/ 114085772 h 1472"/>
              <a:gd name="T104" fmla="*/ 417241125 w 3175"/>
              <a:gd name="T105" fmla="*/ 68943973 h 1472"/>
              <a:gd name="T106" fmla="*/ 428973075 w 3175"/>
              <a:gd name="T107" fmla="*/ 82897007 h 1472"/>
              <a:gd name="T108" fmla="*/ 435028275 w 3175"/>
              <a:gd name="T109" fmla="*/ 107793412 h 1472"/>
              <a:gd name="T110" fmla="*/ 417430350 w 3175"/>
              <a:gd name="T111" fmla="*/ 124208469 h 1472"/>
              <a:gd name="T112" fmla="*/ 438434325 w 3175"/>
              <a:gd name="T113" fmla="*/ 125029144 h 1472"/>
              <a:gd name="T114" fmla="*/ 486308250 w 3175"/>
              <a:gd name="T115" fmla="*/ 102048168 h 1472"/>
              <a:gd name="T116" fmla="*/ 516584250 w 3175"/>
              <a:gd name="T117" fmla="*/ 68943973 h 1472"/>
              <a:gd name="T118" fmla="*/ 570702600 w 3175"/>
              <a:gd name="T119" fmla="*/ 55538055 h 1472"/>
              <a:gd name="T120" fmla="*/ 593409600 w 3175"/>
              <a:gd name="T121" fmla="*/ 32283521 h 1472"/>
              <a:gd name="T122" fmla="*/ 595869525 w 3175"/>
              <a:gd name="T123" fmla="*/ 5033992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61644" y="6227607"/>
            <a:ext cx="339725" cy="590550"/>
          </a:xfrm>
          <a:custGeom>
            <a:avLst/>
            <a:gdLst>
              <a:gd name="T0" fmla="*/ 109469015 w 784"/>
              <a:gd name="T1" fmla="*/ 75923370 h 1128"/>
              <a:gd name="T2" fmla="*/ 103084871 w 784"/>
              <a:gd name="T3" fmla="*/ 80856661 h 1128"/>
              <a:gd name="T4" fmla="*/ 90879904 w 784"/>
              <a:gd name="T5" fmla="*/ 106073355 h 1128"/>
              <a:gd name="T6" fmla="*/ 87312358 w 784"/>
              <a:gd name="T7" fmla="*/ 125259948 h 1128"/>
              <a:gd name="T8" fmla="*/ 90316585 w 784"/>
              <a:gd name="T9" fmla="*/ 143075397 h 1128"/>
              <a:gd name="T10" fmla="*/ 99517326 w 784"/>
              <a:gd name="T11" fmla="*/ 161988179 h 1128"/>
              <a:gd name="T12" fmla="*/ 108718067 w 784"/>
              <a:gd name="T13" fmla="*/ 168840234 h 1128"/>
              <a:gd name="T14" fmla="*/ 117355488 w 784"/>
              <a:gd name="T15" fmla="*/ 164454563 h 1128"/>
              <a:gd name="T16" fmla="*/ 122800621 w 784"/>
              <a:gd name="T17" fmla="*/ 178981674 h 1128"/>
              <a:gd name="T18" fmla="*/ 126180538 w 784"/>
              <a:gd name="T19" fmla="*/ 187204350 h 1128"/>
              <a:gd name="T20" fmla="*/ 134066578 w 784"/>
              <a:gd name="T21" fmla="*/ 188300637 h 1128"/>
              <a:gd name="T22" fmla="*/ 140638784 w 784"/>
              <a:gd name="T23" fmla="*/ 195153216 h 1128"/>
              <a:gd name="T24" fmla="*/ 144581587 w 784"/>
              <a:gd name="T25" fmla="*/ 207212896 h 1128"/>
              <a:gd name="T26" fmla="*/ 142892062 w 784"/>
              <a:gd name="T27" fmla="*/ 216531859 h 1128"/>
              <a:gd name="T28" fmla="*/ 142704000 w 784"/>
              <a:gd name="T29" fmla="*/ 226125155 h 1128"/>
              <a:gd name="T30" fmla="*/ 144957278 w 784"/>
              <a:gd name="T31" fmla="*/ 241748553 h 1128"/>
              <a:gd name="T32" fmla="*/ 142328742 w 784"/>
              <a:gd name="T33" fmla="*/ 255453187 h 1128"/>
              <a:gd name="T34" fmla="*/ 144581587 w 784"/>
              <a:gd name="T35" fmla="*/ 272446682 h 1128"/>
              <a:gd name="T36" fmla="*/ 143267319 w 784"/>
              <a:gd name="T37" fmla="*/ 288892034 h 1128"/>
              <a:gd name="T38" fmla="*/ 129748084 w 784"/>
              <a:gd name="T39" fmla="*/ 307530483 h 1128"/>
              <a:gd name="T40" fmla="*/ 121673982 w 784"/>
              <a:gd name="T41" fmla="*/ 302322858 h 1128"/>
              <a:gd name="T42" fmla="*/ 113036561 w 784"/>
              <a:gd name="T43" fmla="*/ 289440178 h 1128"/>
              <a:gd name="T44" fmla="*/ 86936667 w 784"/>
              <a:gd name="T45" fmla="*/ 273542969 h 1128"/>
              <a:gd name="T46" fmla="*/ 79801576 w 784"/>
              <a:gd name="T47" fmla="*/ 265046484 h 1128"/>
              <a:gd name="T48" fmla="*/ 62151475 w 784"/>
              <a:gd name="T49" fmla="*/ 245037414 h 1128"/>
              <a:gd name="T50" fmla="*/ 59710569 w 784"/>
              <a:gd name="T51" fmla="*/ 237637215 h 1128"/>
              <a:gd name="T52" fmla="*/ 61588156 w 784"/>
              <a:gd name="T53" fmla="*/ 223384438 h 1128"/>
              <a:gd name="T54" fmla="*/ 54453064 w 784"/>
              <a:gd name="T55" fmla="*/ 213242998 h 1128"/>
              <a:gd name="T56" fmla="*/ 48632240 w 784"/>
              <a:gd name="T57" fmla="*/ 204197845 h 1128"/>
              <a:gd name="T58" fmla="*/ 45627581 w 784"/>
              <a:gd name="T59" fmla="*/ 188848780 h 1128"/>
              <a:gd name="T60" fmla="*/ 28728429 w 784"/>
              <a:gd name="T61" fmla="*/ 145268494 h 1128"/>
              <a:gd name="T62" fmla="*/ 22532347 w 784"/>
              <a:gd name="T63" fmla="*/ 133482624 h 1128"/>
              <a:gd name="T64" fmla="*/ 16899152 w 784"/>
              <a:gd name="T65" fmla="*/ 118407369 h 1128"/>
              <a:gd name="T66" fmla="*/ 4130865 w 784"/>
              <a:gd name="T67" fmla="*/ 108814073 h 1128"/>
              <a:gd name="T68" fmla="*/ 0 w 784"/>
              <a:gd name="T69" fmla="*/ 99495110 h 1128"/>
              <a:gd name="T70" fmla="*/ 2440907 w 784"/>
              <a:gd name="T71" fmla="*/ 75649036 h 1128"/>
              <a:gd name="T72" fmla="*/ 5257504 w 784"/>
              <a:gd name="T73" fmla="*/ 67426360 h 1128"/>
              <a:gd name="T74" fmla="*/ 13519235 w 784"/>
              <a:gd name="T75" fmla="*/ 60848115 h 1128"/>
              <a:gd name="T76" fmla="*/ 17838162 w 784"/>
              <a:gd name="T77" fmla="*/ 74552749 h 1128"/>
              <a:gd name="T78" fmla="*/ 29667439 w 784"/>
              <a:gd name="T79" fmla="*/ 84146045 h 1128"/>
              <a:gd name="T80" fmla="*/ 34549253 w 784"/>
              <a:gd name="T81" fmla="*/ 74278939 h 1128"/>
              <a:gd name="T82" fmla="*/ 37741541 w 784"/>
              <a:gd name="T83" fmla="*/ 61670592 h 1128"/>
              <a:gd name="T84" fmla="*/ 50697456 w 784"/>
              <a:gd name="T85" fmla="*/ 46595337 h 1128"/>
              <a:gd name="T86" fmla="*/ 64592382 w 784"/>
              <a:gd name="T87" fmla="*/ 32890703 h 1128"/>
              <a:gd name="T88" fmla="*/ 67033289 w 784"/>
              <a:gd name="T89" fmla="*/ 19186593 h 1128"/>
              <a:gd name="T90" fmla="*/ 65155702 w 784"/>
              <a:gd name="T91" fmla="*/ 1370620 h 1128"/>
              <a:gd name="T92" fmla="*/ 79238256 w 784"/>
              <a:gd name="T93" fmla="*/ 14526588 h 1128"/>
              <a:gd name="T94" fmla="*/ 87688049 w 784"/>
              <a:gd name="T95" fmla="*/ 29327509 h 1128"/>
              <a:gd name="T96" fmla="*/ 95010769 w 784"/>
              <a:gd name="T97" fmla="*/ 42210189 h 1128"/>
              <a:gd name="T98" fmla="*/ 105338149 w 784"/>
              <a:gd name="T99" fmla="*/ 43032143 h 1128"/>
              <a:gd name="T100" fmla="*/ 115853158 w 784"/>
              <a:gd name="T101" fmla="*/ 40839569 h 1128"/>
              <a:gd name="T102" fmla="*/ 120172086 w 784"/>
              <a:gd name="T103" fmla="*/ 42758333 h 1128"/>
              <a:gd name="T104" fmla="*/ 122800621 w 784"/>
              <a:gd name="T105" fmla="*/ 52899773 h 1128"/>
              <a:gd name="T106" fmla="*/ 117730745 w 784"/>
              <a:gd name="T107" fmla="*/ 57559254 h 1128"/>
              <a:gd name="T108" fmla="*/ 117730745 w 784"/>
              <a:gd name="T109" fmla="*/ 65781930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61682" y="6791169"/>
            <a:ext cx="261937" cy="1130300"/>
          </a:xfrm>
          <a:custGeom>
            <a:avLst/>
            <a:gdLst>
              <a:gd name="T0" fmla="*/ 80198714 w 598"/>
              <a:gd name="T1" fmla="*/ 554435196 h 2158"/>
              <a:gd name="T2" fmla="*/ 65616971 w 598"/>
              <a:gd name="T3" fmla="*/ 536328921 h 2158"/>
              <a:gd name="T4" fmla="*/ 65041410 w 598"/>
              <a:gd name="T5" fmla="*/ 519319949 h 2158"/>
              <a:gd name="T6" fmla="*/ 66192969 w 598"/>
              <a:gd name="T7" fmla="*/ 505603408 h 2158"/>
              <a:gd name="T8" fmla="*/ 69454479 w 598"/>
              <a:gd name="T9" fmla="*/ 491337953 h 2158"/>
              <a:gd name="T10" fmla="*/ 67919651 w 598"/>
              <a:gd name="T11" fmla="*/ 477346431 h 2158"/>
              <a:gd name="T12" fmla="*/ 63698435 w 598"/>
              <a:gd name="T13" fmla="*/ 461709218 h 2158"/>
              <a:gd name="T14" fmla="*/ 58134683 w 598"/>
              <a:gd name="T15" fmla="*/ 433727222 h 2158"/>
              <a:gd name="T16" fmla="*/ 43361086 w 598"/>
              <a:gd name="T17" fmla="*/ 400532123 h 2158"/>
              <a:gd name="T18" fmla="*/ 39523578 w 598"/>
              <a:gd name="T19" fmla="*/ 378859485 h 2158"/>
              <a:gd name="T20" fmla="*/ 41634404 w 598"/>
              <a:gd name="T21" fmla="*/ 356364001 h 2158"/>
              <a:gd name="T22" fmla="*/ 39907723 w 598"/>
              <a:gd name="T23" fmla="*/ 338806116 h 2158"/>
              <a:gd name="T24" fmla="*/ 35494654 w 598"/>
              <a:gd name="T25" fmla="*/ 319602539 h 2158"/>
              <a:gd name="T26" fmla="*/ 40483283 w 598"/>
              <a:gd name="T27" fmla="*/ 308080602 h 2158"/>
              <a:gd name="T28" fmla="*/ 37413189 w 598"/>
              <a:gd name="T29" fmla="*/ 296832598 h 2158"/>
              <a:gd name="T30" fmla="*/ 40483283 w 598"/>
              <a:gd name="T31" fmla="*/ 281195385 h 2158"/>
              <a:gd name="T32" fmla="*/ 40291430 w 598"/>
              <a:gd name="T33" fmla="*/ 272416966 h 2158"/>
              <a:gd name="T34" fmla="*/ 35878361 w 598"/>
              <a:gd name="T35" fmla="*/ 254310691 h 2158"/>
              <a:gd name="T36" fmla="*/ 26093393 w 598"/>
              <a:gd name="T37" fmla="*/ 233735355 h 2158"/>
              <a:gd name="T38" fmla="*/ 25709686 w 598"/>
              <a:gd name="T39" fmla="*/ 188195474 h 2158"/>
              <a:gd name="T40" fmla="*/ 35110947 w 598"/>
              <a:gd name="T41" fmla="*/ 160212954 h 2158"/>
              <a:gd name="T42" fmla="*/ 36262068 w 598"/>
              <a:gd name="T43" fmla="*/ 143203982 h 2158"/>
              <a:gd name="T44" fmla="*/ 30697878 w 598"/>
              <a:gd name="T45" fmla="*/ 125920553 h 2158"/>
              <a:gd name="T46" fmla="*/ 34919093 w 598"/>
              <a:gd name="T47" fmla="*/ 111380642 h 2158"/>
              <a:gd name="T48" fmla="*/ 43936647 w 598"/>
              <a:gd name="T49" fmla="*/ 94920583 h 2158"/>
              <a:gd name="T50" fmla="*/ 38372456 w 598"/>
              <a:gd name="T51" fmla="*/ 84495948 h 2158"/>
              <a:gd name="T52" fmla="*/ 28395635 w 598"/>
              <a:gd name="T53" fmla="*/ 60902638 h 2158"/>
              <a:gd name="T54" fmla="*/ 24750418 w 598"/>
              <a:gd name="T55" fmla="*/ 34292401 h 2158"/>
              <a:gd name="T56" fmla="*/ 17459547 w 598"/>
              <a:gd name="T57" fmla="*/ 10150702 h 2158"/>
              <a:gd name="T58" fmla="*/ 0 w 598"/>
              <a:gd name="T59" fmla="*/ 12070850 h 2158"/>
              <a:gd name="T60" fmla="*/ 5947897 w 598"/>
              <a:gd name="T61" fmla="*/ 54867213 h 2158"/>
              <a:gd name="T62" fmla="*/ 8058286 w 598"/>
              <a:gd name="T63" fmla="*/ 83398646 h 2158"/>
              <a:gd name="T64" fmla="*/ 5180483 w 598"/>
              <a:gd name="T65" fmla="*/ 102602223 h 2158"/>
              <a:gd name="T66" fmla="*/ 9976821 w 598"/>
              <a:gd name="T67" fmla="*/ 143752895 h 2158"/>
              <a:gd name="T68" fmla="*/ 8825700 w 598"/>
              <a:gd name="T69" fmla="*/ 178044772 h 2158"/>
              <a:gd name="T70" fmla="*/ 6907165 w 598"/>
              <a:gd name="T71" fmla="*/ 196973893 h 2158"/>
              <a:gd name="T72" fmla="*/ 9976821 w 598"/>
              <a:gd name="T73" fmla="*/ 210416501 h 2158"/>
              <a:gd name="T74" fmla="*/ 12279063 w 598"/>
              <a:gd name="T75" fmla="*/ 238947410 h 2158"/>
              <a:gd name="T76" fmla="*/ 15541011 w 598"/>
              <a:gd name="T77" fmla="*/ 250469871 h 2158"/>
              <a:gd name="T78" fmla="*/ 14006183 w 598"/>
              <a:gd name="T79" fmla="*/ 286682420 h 2158"/>
              <a:gd name="T80" fmla="*/ 12087210 w 598"/>
              <a:gd name="T81" fmla="*/ 316036175 h 2158"/>
              <a:gd name="T82" fmla="*/ 7674579 w 598"/>
              <a:gd name="T83" fmla="*/ 325912420 h 2158"/>
              <a:gd name="T84" fmla="*/ 11511649 w 598"/>
              <a:gd name="T85" fmla="*/ 345115997 h 2158"/>
              <a:gd name="T86" fmla="*/ 20337349 w 598"/>
              <a:gd name="T87" fmla="*/ 368434851 h 2158"/>
              <a:gd name="T88" fmla="*/ 17843254 w 598"/>
              <a:gd name="T89" fmla="*/ 382974762 h 2158"/>
              <a:gd name="T90" fmla="*/ 20337349 w 598"/>
              <a:gd name="T91" fmla="*/ 397514673 h 2158"/>
              <a:gd name="T92" fmla="*/ 31465730 w 598"/>
              <a:gd name="T93" fmla="*/ 402452795 h 2158"/>
              <a:gd name="T94" fmla="*/ 40099576 w 598"/>
              <a:gd name="T95" fmla="*/ 444700246 h 2158"/>
              <a:gd name="T96" fmla="*/ 43552940 w 598"/>
              <a:gd name="T97" fmla="*/ 468841945 h 2158"/>
              <a:gd name="T98" fmla="*/ 28971196 w 598"/>
              <a:gd name="T99" fmla="*/ 479815493 h 2158"/>
              <a:gd name="T100" fmla="*/ 39715869 w 598"/>
              <a:gd name="T101" fmla="*/ 487222676 h 2158"/>
              <a:gd name="T102" fmla="*/ 47965571 w 598"/>
              <a:gd name="T103" fmla="*/ 499293526 h 2158"/>
              <a:gd name="T104" fmla="*/ 52762347 w 598"/>
              <a:gd name="T105" fmla="*/ 513284524 h 2158"/>
              <a:gd name="T106" fmla="*/ 59093951 w 598"/>
              <a:gd name="T107" fmla="*/ 537975137 h 2158"/>
              <a:gd name="T108" fmla="*/ 68878918 w 598"/>
              <a:gd name="T109" fmla="*/ 552240591 h 2158"/>
              <a:gd name="T110" fmla="*/ 75402376 w 598"/>
              <a:gd name="T111" fmla="*/ 561842380 h 2158"/>
              <a:gd name="T112" fmla="*/ 81349835 w 598"/>
              <a:gd name="T113" fmla="*/ 568975107 h 2158"/>
              <a:gd name="T114" fmla="*/ 89216268 w 598"/>
              <a:gd name="T115" fmla="*/ 578851352 h 2158"/>
              <a:gd name="T116" fmla="*/ 99576796 w 598"/>
              <a:gd name="T117" fmla="*/ 587081382 h 2158"/>
              <a:gd name="T118" fmla="*/ 103222451 w 598"/>
              <a:gd name="T119" fmla="*/ 590099356 h 2158"/>
              <a:gd name="T120" fmla="*/ 112431858 w 598"/>
              <a:gd name="T121" fmla="*/ 575559445 h 2158"/>
              <a:gd name="T122" fmla="*/ 113391126 w 598"/>
              <a:gd name="T123" fmla="*/ 568152261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466432" y="6073619"/>
            <a:ext cx="966787" cy="1203325"/>
          </a:xfrm>
          <a:custGeom>
            <a:avLst/>
            <a:gdLst>
              <a:gd name="T0" fmla="*/ 82997318 w 2226"/>
              <a:gd name="T1" fmla="*/ 246970381 h 2292"/>
              <a:gd name="T2" fmla="*/ 95258053 w 2226"/>
              <a:gd name="T3" fmla="*/ 271502041 h 2292"/>
              <a:gd name="T4" fmla="*/ 107896643 w 2226"/>
              <a:gd name="T5" fmla="*/ 290520561 h 2292"/>
              <a:gd name="T6" fmla="*/ 135059188 w 2226"/>
              <a:gd name="T7" fmla="*/ 302648838 h 2292"/>
              <a:gd name="T8" fmla="*/ 150526912 w 2226"/>
              <a:gd name="T9" fmla="*/ 331866220 h 2292"/>
              <a:gd name="T10" fmla="*/ 159581094 w 2226"/>
              <a:gd name="T11" fmla="*/ 356122249 h 2292"/>
              <a:gd name="T12" fmla="*/ 177123978 w 2226"/>
              <a:gd name="T13" fmla="*/ 373487509 h 2292"/>
              <a:gd name="T14" fmla="*/ 180519025 w 2226"/>
              <a:gd name="T15" fmla="*/ 404083045 h 2292"/>
              <a:gd name="T16" fmla="*/ 184102999 w 2226"/>
              <a:gd name="T17" fmla="*/ 424755875 h 2292"/>
              <a:gd name="T18" fmla="*/ 187121059 w 2226"/>
              <a:gd name="T19" fmla="*/ 449838796 h 2292"/>
              <a:gd name="T20" fmla="*/ 213340705 w 2226"/>
              <a:gd name="T21" fmla="*/ 468030949 h 2292"/>
              <a:gd name="T22" fmla="*/ 225035961 w 2226"/>
              <a:gd name="T23" fmla="*/ 497523961 h 2292"/>
              <a:gd name="T24" fmla="*/ 234467563 w 2226"/>
              <a:gd name="T25" fmla="*/ 513786174 h 2292"/>
              <a:gd name="T26" fmla="*/ 223149728 w 2226"/>
              <a:gd name="T27" fmla="*/ 552099895 h 2292"/>
              <a:gd name="T28" fmla="*/ 204475016 w 2226"/>
              <a:gd name="T29" fmla="*/ 586554261 h 2292"/>
              <a:gd name="T30" fmla="*/ 222583814 w 2226"/>
              <a:gd name="T31" fmla="*/ 595650600 h 2292"/>
              <a:gd name="T32" fmla="*/ 244464645 w 2226"/>
              <a:gd name="T33" fmla="*/ 615771643 h 2292"/>
              <a:gd name="T34" fmla="*/ 267666230 w 2226"/>
              <a:gd name="T35" fmla="*/ 605848937 h 2292"/>
              <a:gd name="T36" fmla="*/ 286340507 w 2226"/>
              <a:gd name="T37" fmla="*/ 561195709 h 2292"/>
              <a:gd name="T38" fmla="*/ 285209114 w 2226"/>
              <a:gd name="T39" fmla="*/ 528670759 h 2292"/>
              <a:gd name="T40" fmla="*/ 294451789 w 2226"/>
              <a:gd name="T41" fmla="*/ 494216393 h 2292"/>
              <a:gd name="T42" fmla="*/ 321803262 w 2226"/>
              <a:gd name="T43" fmla="*/ 476024240 h 2292"/>
              <a:gd name="T44" fmla="*/ 339157218 w 2226"/>
              <a:gd name="T45" fmla="*/ 463344701 h 2292"/>
              <a:gd name="T46" fmla="*/ 357831495 w 2226"/>
              <a:gd name="T47" fmla="*/ 452319472 h 2292"/>
              <a:gd name="T48" fmla="*/ 373865132 w 2226"/>
              <a:gd name="T49" fmla="*/ 385890892 h 2292"/>
              <a:gd name="T50" fmla="*/ 379901254 w 2226"/>
              <a:gd name="T51" fmla="*/ 355019726 h 2292"/>
              <a:gd name="T52" fmla="*/ 377637600 w 2226"/>
              <a:gd name="T53" fmla="*/ 300443792 h 2292"/>
              <a:gd name="T54" fmla="*/ 391030596 w 2226"/>
              <a:gd name="T55" fmla="*/ 278117178 h 2292"/>
              <a:gd name="T56" fmla="*/ 413100354 w 2226"/>
              <a:gd name="T57" fmla="*/ 241733397 h 2292"/>
              <a:gd name="T58" fmla="*/ 419136475 w 2226"/>
              <a:gd name="T59" fmla="*/ 201765892 h 2292"/>
              <a:gd name="T60" fmla="*/ 406875306 w 2226"/>
              <a:gd name="T61" fmla="*/ 165106480 h 2292"/>
              <a:gd name="T62" fmla="*/ 388389522 w 2226"/>
              <a:gd name="T63" fmla="*/ 155183249 h 2292"/>
              <a:gd name="T64" fmla="*/ 362358804 w 2226"/>
              <a:gd name="T65" fmla="*/ 127344021 h 2292"/>
              <a:gd name="T66" fmla="*/ 328593789 w 2226"/>
              <a:gd name="T67" fmla="*/ 124036452 h 2292"/>
              <a:gd name="T68" fmla="*/ 315012299 w 2226"/>
              <a:gd name="T69" fmla="*/ 123209560 h 2292"/>
              <a:gd name="T70" fmla="*/ 308599192 w 2226"/>
              <a:gd name="T71" fmla="*/ 108600606 h 2292"/>
              <a:gd name="T72" fmla="*/ 285209114 w 2226"/>
              <a:gd name="T73" fmla="*/ 95921593 h 2292"/>
              <a:gd name="T74" fmla="*/ 266157417 w 2226"/>
              <a:gd name="T75" fmla="*/ 112735067 h 2292"/>
              <a:gd name="T76" fmla="*/ 252387434 w 2226"/>
              <a:gd name="T77" fmla="*/ 111632544 h 2292"/>
              <a:gd name="T78" fmla="*/ 235221970 w 2226"/>
              <a:gd name="T79" fmla="*/ 105844299 h 2292"/>
              <a:gd name="T80" fmla="*/ 248426039 w 2226"/>
              <a:gd name="T81" fmla="*/ 73870610 h 2292"/>
              <a:gd name="T82" fmla="*/ 252387434 w 2226"/>
              <a:gd name="T83" fmla="*/ 50717104 h 2292"/>
              <a:gd name="T84" fmla="*/ 243521745 w 2226"/>
              <a:gd name="T85" fmla="*/ 18743414 h 2292"/>
              <a:gd name="T86" fmla="*/ 212020385 w 2226"/>
              <a:gd name="T87" fmla="*/ 37210673 h 2292"/>
              <a:gd name="T88" fmla="*/ 189196220 w 2226"/>
              <a:gd name="T89" fmla="*/ 46858274 h 2292"/>
              <a:gd name="T90" fmla="*/ 181084938 w 2226"/>
              <a:gd name="T91" fmla="*/ 51543996 h 2292"/>
              <a:gd name="T92" fmla="*/ 153167552 w 2226"/>
              <a:gd name="T93" fmla="*/ 48512058 h 2292"/>
              <a:gd name="T94" fmla="*/ 152979059 w 2226"/>
              <a:gd name="T95" fmla="*/ 18467784 h 2292"/>
              <a:gd name="T96" fmla="*/ 140529396 w 2226"/>
              <a:gd name="T97" fmla="*/ 0 h 2292"/>
              <a:gd name="T98" fmla="*/ 132041128 w 2226"/>
              <a:gd name="T99" fmla="*/ 8544553 h 2292"/>
              <a:gd name="T100" fmla="*/ 111103197 w 2226"/>
              <a:gd name="T101" fmla="*/ 19294676 h 2292"/>
              <a:gd name="T102" fmla="*/ 105632989 w 2226"/>
              <a:gd name="T103" fmla="*/ 54575934 h 2292"/>
              <a:gd name="T104" fmla="*/ 85449465 w 2226"/>
              <a:gd name="T105" fmla="*/ 71114302 h 2292"/>
              <a:gd name="T106" fmla="*/ 53948104 w 2226"/>
              <a:gd name="T107" fmla="*/ 54300303 h 2292"/>
              <a:gd name="T108" fmla="*/ 47723490 w 2226"/>
              <a:gd name="T109" fmla="*/ 66152949 h 2292"/>
              <a:gd name="T110" fmla="*/ 37348988 w 2226"/>
              <a:gd name="T111" fmla="*/ 85722731 h 2292"/>
              <a:gd name="T112" fmla="*/ 46403170 w 2226"/>
              <a:gd name="T113" fmla="*/ 106946822 h 2292"/>
              <a:gd name="T114" fmla="*/ 36594147 w 2226"/>
              <a:gd name="T115" fmla="*/ 154356357 h 2292"/>
              <a:gd name="T116" fmla="*/ 18863204 w 2226"/>
              <a:gd name="T117" fmla="*/ 156285772 h 2292"/>
              <a:gd name="T118" fmla="*/ 3018061 w 2226"/>
              <a:gd name="T119" fmla="*/ 189361984 h 2292"/>
              <a:gd name="T120" fmla="*/ 4149888 w 2226"/>
              <a:gd name="T121" fmla="*/ 227124444 h 2292"/>
              <a:gd name="T122" fmla="*/ 22635672 w 2226"/>
              <a:gd name="T123" fmla="*/ 249451058 h 2292"/>
              <a:gd name="T124" fmla="*/ 36028234 w 2226"/>
              <a:gd name="T125" fmla="*/ 261578810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79394" y="5019519"/>
            <a:ext cx="69850" cy="49213"/>
          </a:xfrm>
          <a:custGeom>
            <a:avLst/>
            <a:gdLst>
              <a:gd name="T0" fmla="*/ 17693309 w 161"/>
              <a:gd name="T1" fmla="*/ 0 h 93"/>
              <a:gd name="T2" fmla="*/ 20140228 w 161"/>
              <a:gd name="T3" fmla="*/ 5040364 h 93"/>
              <a:gd name="T4" fmla="*/ 21081251 w 161"/>
              <a:gd name="T5" fmla="*/ 3360242 h 93"/>
              <a:gd name="T6" fmla="*/ 22022707 w 161"/>
              <a:gd name="T7" fmla="*/ 2239985 h 93"/>
              <a:gd name="T8" fmla="*/ 22963730 w 161"/>
              <a:gd name="T9" fmla="*/ 1400189 h 93"/>
              <a:gd name="T10" fmla="*/ 23904752 w 161"/>
              <a:gd name="T11" fmla="*/ 840325 h 93"/>
              <a:gd name="T12" fmla="*/ 25787232 w 161"/>
              <a:gd name="T13" fmla="*/ 279932 h 93"/>
              <a:gd name="T14" fmla="*/ 27857568 w 161"/>
              <a:gd name="T15" fmla="*/ 0 h 93"/>
              <a:gd name="T16" fmla="*/ 28422008 w 161"/>
              <a:gd name="T17" fmla="*/ 0 h 93"/>
              <a:gd name="T18" fmla="*/ 30304488 w 161"/>
              <a:gd name="T19" fmla="*/ 0 h 93"/>
              <a:gd name="T20" fmla="*/ 30304488 w 161"/>
              <a:gd name="T21" fmla="*/ 25762212 h 93"/>
              <a:gd name="T22" fmla="*/ 29175174 w 161"/>
              <a:gd name="T23" fmla="*/ 26042144 h 93"/>
              <a:gd name="T24" fmla="*/ 28234151 w 161"/>
              <a:gd name="T25" fmla="*/ 26042144 h 93"/>
              <a:gd name="T26" fmla="*/ 27292694 w 161"/>
              <a:gd name="T27" fmla="*/ 25762212 h 93"/>
              <a:gd name="T28" fmla="*/ 26351672 w 161"/>
              <a:gd name="T29" fmla="*/ 25482280 h 93"/>
              <a:gd name="T30" fmla="*/ 24281335 w 161"/>
              <a:gd name="T31" fmla="*/ 24641955 h 93"/>
              <a:gd name="T32" fmla="*/ 22587147 w 161"/>
              <a:gd name="T33" fmla="*/ 22961833 h 93"/>
              <a:gd name="T34" fmla="*/ 20892959 w 161"/>
              <a:gd name="T35" fmla="*/ 21001780 h 93"/>
              <a:gd name="T36" fmla="*/ 19575354 w 161"/>
              <a:gd name="T37" fmla="*/ 18761795 h 93"/>
              <a:gd name="T38" fmla="*/ 18258183 w 161"/>
              <a:gd name="T39" fmla="*/ 16521280 h 93"/>
              <a:gd name="T40" fmla="*/ 17693309 w 161"/>
              <a:gd name="T41" fmla="*/ 13720902 h 93"/>
              <a:gd name="T42" fmla="*/ 17316726 w 161"/>
              <a:gd name="T43" fmla="*/ 14001363 h 93"/>
              <a:gd name="T44" fmla="*/ 16752286 w 161"/>
              <a:gd name="T45" fmla="*/ 14281295 h 93"/>
              <a:gd name="T46" fmla="*/ 16187412 w 161"/>
              <a:gd name="T47" fmla="*/ 14281295 h 93"/>
              <a:gd name="T48" fmla="*/ 15810830 w 161"/>
              <a:gd name="T49" fmla="*/ 14281295 h 93"/>
              <a:gd name="T50" fmla="*/ 14681516 w 161"/>
              <a:gd name="T51" fmla="*/ 14001363 h 93"/>
              <a:gd name="T52" fmla="*/ 13928784 w 161"/>
              <a:gd name="T53" fmla="*/ 13720902 h 93"/>
              <a:gd name="T54" fmla="*/ 12234596 w 161"/>
              <a:gd name="T55" fmla="*/ 13440970 h 93"/>
              <a:gd name="T56" fmla="*/ 10352551 w 161"/>
              <a:gd name="T57" fmla="*/ 12601174 h 93"/>
              <a:gd name="T58" fmla="*/ 8281780 w 161"/>
              <a:gd name="T59" fmla="*/ 11200985 h 93"/>
              <a:gd name="T60" fmla="*/ 6023152 w 161"/>
              <a:gd name="T61" fmla="*/ 9520863 h 93"/>
              <a:gd name="T62" fmla="*/ 3952816 w 161"/>
              <a:gd name="T63" fmla="*/ 7280349 h 93"/>
              <a:gd name="T64" fmla="*/ 2258628 w 161"/>
              <a:gd name="T65" fmla="*/ 5040364 h 93"/>
              <a:gd name="T66" fmla="*/ 1505897 w 161"/>
              <a:gd name="T67" fmla="*/ 3920106 h 93"/>
              <a:gd name="T68" fmla="*/ 941023 w 161"/>
              <a:gd name="T69" fmla="*/ 2520446 h 93"/>
              <a:gd name="T70" fmla="*/ 564874 w 161"/>
              <a:gd name="T71" fmla="*/ 1400189 h 93"/>
              <a:gd name="T72" fmla="*/ 0 w 161"/>
              <a:gd name="T73" fmla="*/ 0 h 93"/>
              <a:gd name="T74" fmla="*/ 17693309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077744" y="4894107"/>
            <a:ext cx="82550" cy="160337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158707" y="4379757"/>
            <a:ext cx="171450" cy="269875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517482" y="4682969"/>
            <a:ext cx="169862" cy="76200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09732" y="4532157"/>
            <a:ext cx="1281112" cy="1038225"/>
          </a:xfrm>
          <a:custGeom>
            <a:avLst/>
            <a:gdLst>
              <a:gd name="T0" fmla="*/ 71018374 w 2936"/>
              <a:gd name="T1" fmla="*/ 293580501 h 1983"/>
              <a:gd name="T2" fmla="*/ 73303082 w 2936"/>
              <a:gd name="T3" fmla="*/ 324007352 h 1983"/>
              <a:gd name="T4" fmla="*/ 91010004 w 2936"/>
              <a:gd name="T5" fmla="*/ 372252092 h 1983"/>
              <a:gd name="T6" fmla="*/ 146225670 w 2936"/>
              <a:gd name="T7" fmla="*/ 408984210 h 1983"/>
              <a:gd name="T8" fmla="*/ 197252413 w 2936"/>
              <a:gd name="T9" fmla="*/ 425430888 h 1983"/>
              <a:gd name="T10" fmla="*/ 214007229 w 2936"/>
              <a:gd name="T11" fmla="*/ 419126145 h 1983"/>
              <a:gd name="T12" fmla="*/ 266747503 w 2936"/>
              <a:gd name="T13" fmla="*/ 396922894 h 1983"/>
              <a:gd name="T14" fmla="*/ 294545364 w 2936"/>
              <a:gd name="T15" fmla="*/ 422690036 h 1983"/>
              <a:gd name="T16" fmla="*/ 300257571 w 2936"/>
              <a:gd name="T17" fmla="*/ 465178203 h 1983"/>
              <a:gd name="T18" fmla="*/ 305969340 w 2936"/>
              <a:gd name="T19" fmla="*/ 486011290 h 1983"/>
              <a:gd name="T20" fmla="*/ 324818617 w 2936"/>
              <a:gd name="T21" fmla="*/ 524113572 h 1983"/>
              <a:gd name="T22" fmla="*/ 350712701 w 2936"/>
              <a:gd name="T23" fmla="*/ 509585228 h 1983"/>
              <a:gd name="T24" fmla="*/ 394504390 w 2936"/>
              <a:gd name="T25" fmla="*/ 508214541 h 1983"/>
              <a:gd name="T26" fmla="*/ 431251273 w 2936"/>
              <a:gd name="T27" fmla="*/ 543575971 h 1983"/>
              <a:gd name="T28" fmla="*/ 448767948 w 2936"/>
              <a:gd name="T29" fmla="*/ 523565401 h 1983"/>
              <a:gd name="T30" fmla="*/ 467807472 w 2936"/>
              <a:gd name="T31" fmla="*/ 511504086 h 1983"/>
              <a:gd name="T32" fmla="*/ 484752971 w 2936"/>
              <a:gd name="T33" fmla="*/ 500539634 h 1983"/>
              <a:gd name="T34" fmla="*/ 510837301 w 2936"/>
              <a:gd name="T35" fmla="*/ 474772491 h 1983"/>
              <a:gd name="T36" fmla="*/ 517691861 w 2936"/>
              <a:gd name="T37" fmla="*/ 442974429 h 1983"/>
              <a:gd name="T38" fmla="*/ 531971722 w 2936"/>
              <a:gd name="T39" fmla="*/ 389247464 h 1983"/>
              <a:gd name="T40" fmla="*/ 515026223 w 2936"/>
              <a:gd name="T41" fmla="*/ 376912324 h 1983"/>
              <a:gd name="T42" fmla="*/ 502650577 w 2936"/>
              <a:gd name="T43" fmla="*/ 348951977 h 1983"/>
              <a:gd name="T44" fmla="*/ 508172099 w 2936"/>
              <a:gd name="T45" fmla="*/ 336343015 h 1983"/>
              <a:gd name="T46" fmla="*/ 482087333 w 2936"/>
              <a:gd name="T47" fmla="*/ 290839126 h 1983"/>
              <a:gd name="T48" fmla="*/ 491797778 w 2936"/>
              <a:gd name="T49" fmla="*/ 272199244 h 1983"/>
              <a:gd name="T50" fmla="*/ 467046048 w 2936"/>
              <a:gd name="T51" fmla="*/ 263701297 h 1983"/>
              <a:gd name="T52" fmla="*/ 444198096 w 2936"/>
              <a:gd name="T53" fmla="*/ 243142557 h 1983"/>
              <a:gd name="T54" fmla="*/ 450861973 w 2936"/>
              <a:gd name="T55" fmla="*/ 229162383 h 1983"/>
              <a:gd name="T56" fmla="*/ 465141834 w 2936"/>
              <a:gd name="T57" fmla="*/ 207232956 h 1983"/>
              <a:gd name="T58" fmla="*/ 475233209 w 2936"/>
              <a:gd name="T59" fmla="*/ 213812046 h 1983"/>
              <a:gd name="T60" fmla="*/ 482087333 w 2936"/>
              <a:gd name="T61" fmla="*/ 233822616 h 1983"/>
              <a:gd name="T62" fmla="*/ 511980091 w 2936"/>
              <a:gd name="T63" fmla="*/ 209151814 h 1983"/>
              <a:gd name="T64" fmla="*/ 538445352 w 2936"/>
              <a:gd name="T65" fmla="*/ 184481535 h 1983"/>
              <a:gd name="T66" fmla="*/ 549488398 w 2936"/>
              <a:gd name="T67" fmla="*/ 154602331 h 1983"/>
              <a:gd name="T68" fmla="*/ 557484876 w 2936"/>
              <a:gd name="T69" fmla="*/ 135414278 h 1983"/>
              <a:gd name="T70" fmla="*/ 550820999 w 2936"/>
              <a:gd name="T71" fmla="*/ 84154340 h 1983"/>
              <a:gd name="T72" fmla="*/ 518263038 w 2936"/>
              <a:gd name="T73" fmla="*/ 93474282 h 1983"/>
              <a:gd name="T74" fmla="*/ 468569332 w 2936"/>
              <a:gd name="T75" fmla="*/ 56193994 h 1983"/>
              <a:gd name="T76" fmla="*/ 437915149 w 2936"/>
              <a:gd name="T77" fmla="*/ 24396455 h 1983"/>
              <a:gd name="T78" fmla="*/ 376987714 w 2936"/>
              <a:gd name="T79" fmla="*/ 14528344 h 1983"/>
              <a:gd name="T80" fmla="*/ 382128743 w 2936"/>
              <a:gd name="T81" fmla="*/ 42488167 h 1983"/>
              <a:gd name="T82" fmla="*/ 371656438 w 2936"/>
              <a:gd name="T83" fmla="*/ 62224913 h 1983"/>
              <a:gd name="T84" fmla="*/ 385555805 w 2936"/>
              <a:gd name="T85" fmla="*/ 95941309 h 1983"/>
              <a:gd name="T86" fmla="*/ 408594004 w 2936"/>
              <a:gd name="T87" fmla="*/ 101423535 h 1983"/>
              <a:gd name="T88" fmla="*/ 388601937 w 2936"/>
              <a:gd name="T89" fmla="*/ 124723650 h 1983"/>
              <a:gd name="T90" fmla="*/ 360042215 w 2936"/>
              <a:gd name="T91" fmla="*/ 156247365 h 1983"/>
              <a:gd name="T92" fmla="*/ 310348509 w 2936"/>
              <a:gd name="T93" fmla="*/ 195445987 h 1983"/>
              <a:gd name="T94" fmla="*/ 233808612 w 2936"/>
              <a:gd name="T95" fmla="*/ 180643820 h 1983"/>
              <a:gd name="T96" fmla="*/ 197252413 w 2936"/>
              <a:gd name="T97" fmla="*/ 153505990 h 1983"/>
              <a:gd name="T98" fmla="*/ 143179102 w 2936"/>
              <a:gd name="T99" fmla="*/ 135688625 h 1983"/>
              <a:gd name="T100" fmla="*/ 130612772 w 2936"/>
              <a:gd name="T101" fmla="*/ 103890563 h 1983"/>
              <a:gd name="T102" fmla="*/ 97483634 w 2936"/>
              <a:gd name="T103" fmla="*/ 81961136 h 1983"/>
              <a:gd name="T104" fmla="*/ 81871173 w 2936"/>
              <a:gd name="T105" fmla="*/ 85250681 h 1983"/>
              <a:gd name="T106" fmla="*/ 80538136 w 2936"/>
              <a:gd name="T107" fmla="*/ 106357591 h 1983"/>
              <a:gd name="T108" fmla="*/ 58071550 w 2936"/>
              <a:gd name="T109" fmla="*/ 104713080 h 1983"/>
              <a:gd name="T110" fmla="*/ 43220513 w 2936"/>
              <a:gd name="T111" fmla="*/ 138977647 h 1983"/>
              <a:gd name="T112" fmla="*/ 49503459 w 2936"/>
              <a:gd name="T113" fmla="*/ 163100278 h 1983"/>
              <a:gd name="T114" fmla="*/ 47980175 w 2936"/>
              <a:gd name="T115" fmla="*/ 196268504 h 1983"/>
              <a:gd name="T116" fmla="*/ 22467022 w 2936"/>
              <a:gd name="T117" fmla="*/ 214086393 h 1983"/>
              <a:gd name="T118" fmla="*/ 7615984 w 2936"/>
              <a:gd name="T119" fmla="*/ 245061414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01632" y="4073369"/>
            <a:ext cx="220662" cy="273050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438107" y="4490882"/>
            <a:ext cx="182562" cy="238125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63507" y="4748057"/>
            <a:ext cx="250825" cy="274637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480969" y="4916332"/>
            <a:ext cx="33338" cy="82550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3 h 160"/>
              <a:gd name="T6" fmla="*/ 2849344 w 79"/>
              <a:gd name="T7" fmla="*/ 9316799 h 160"/>
              <a:gd name="T8" fmla="*/ 3383596 w 79"/>
              <a:gd name="T9" fmla="*/ 8784352 h 160"/>
              <a:gd name="T10" fmla="*/ 4630184 w 79"/>
              <a:gd name="T11" fmla="*/ 7453233 h 160"/>
              <a:gd name="T12" fmla="*/ 5520604 w 79"/>
              <a:gd name="T13" fmla="*/ 5856407 h 160"/>
              <a:gd name="T14" fmla="*/ 6589108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8 w 79"/>
              <a:gd name="T23" fmla="*/ 798671 h 160"/>
              <a:gd name="T24" fmla="*/ 11041208 w 79"/>
              <a:gd name="T25" fmla="*/ 1863566 h 160"/>
              <a:gd name="T26" fmla="*/ 11397376 w 79"/>
              <a:gd name="T27" fmla="*/ 2661722 h 160"/>
              <a:gd name="T28" fmla="*/ 11753544 w 79"/>
              <a:gd name="T29" fmla="*/ 3726617 h 160"/>
              <a:gd name="T30" fmla="*/ 12287796 w 79"/>
              <a:gd name="T31" fmla="*/ 5856407 h 160"/>
              <a:gd name="T32" fmla="*/ 12822048 w 79"/>
              <a:gd name="T33" fmla="*/ 8518128 h 160"/>
              <a:gd name="T34" fmla="*/ 13000132 w 79"/>
              <a:gd name="T35" fmla="*/ 10647918 h 160"/>
              <a:gd name="T36" fmla="*/ 13178216 w 79"/>
              <a:gd name="T37" fmla="*/ 13043416 h 160"/>
              <a:gd name="T38" fmla="*/ 13534384 w 79"/>
              <a:gd name="T39" fmla="*/ 15438914 h 160"/>
              <a:gd name="T40" fmla="*/ 14068636 w 79"/>
              <a:gd name="T41" fmla="*/ 17834928 h 160"/>
              <a:gd name="T42" fmla="*/ 14068636 w 79"/>
              <a:gd name="T43" fmla="*/ 26086832 h 160"/>
              <a:gd name="T44" fmla="*/ 12109712 w 79"/>
              <a:gd name="T45" fmla="*/ 30612120 h 160"/>
              <a:gd name="T46" fmla="*/ 10506956 w 79"/>
              <a:gd name="T47" fmla="*/ 34338736 h 160"/>
              <a:gd name="T48" fmla="*/ 9438452 w 79"/>
              <a:gd name="T49" fmla="*/ 36202303 h 160"/>
              <a:gd name="T50" fmla="*/ 8904200 w 79"/>
              <a:gd name="T51" fmla="*/ 38331577 h 160"/>
              <a:gd name="T52" fmla="*/ 8548032 w 79"/>
              <a:gd name="T53" fmla="*/ 40195143 h 160"/>
              <a:gd name="T54" fmla="*/ 8191864 w 79"/>
              <a:gd name="T55" fmla="*/ 42590641 h 160"/>
              <a:gd name="T56" fmla="*/ 7123360 w 79"/>
              <a:gd name="T57" fmla="*/ 41259522 h 160"/>
              <a:gd name="T58" fmla="*/ 5876772 w 79"/>
              <a:gd name="T59" fmla="*/ 39928919 h 160"/>
              <a:gd name="T60" fmla="*/ 4986352 w 79"/>
              <a:gd name="T61" fmla="*/ 38331577 h 160"/>
              <a:gd name="T62" fmla="*/ 3917848 w 79"/>
              <a:gd name="T63" fmla="*/ 36468010 h 160"/>
              <a:gd name="T64" fmla="*/ 3205512 w 79"/>
              <a:gd name="T65" fmla="*/ 34604960 h 160"/>
              <a:gd name="T66" fmla="*/ 2671260 w 79"/>
              <a:gd name="T67" fmla="*/ 32741394 h 160"/>
              <a:gd name="T68" fmla="*/ 1958924 w 79"/>
              <a:gd name="T69" fmla="*/ 30612120 h 160"/>
              <a:gd name="T70" fmla="*/ 1424672 w 79"/>
              <a:gd name="T71" fmla="*/ 28748553 h 160"/>
              <a:gd name="T72" fmla="*/ 712336 w 79"/>
              <a:gd name="T73" fmla="*/ 24223266 h 160"/>
              <a:gd name="T74" fmla="*/ 178084 w 79"/>
              <a:gd name="T75" fmla="*/ 19431754 h 160"/>
              <a:gd name="T76" fmla="*/ 0 w 79"/>
              <a:gd name="T77" fmla="*/ 14640758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7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800307" y="5976782"/>
            <a:ext cx="473075" cy="212725"/>
            <a:chOff x="4488" y="2394"/>
            <a:chExt cx="358" cy="124"/>
          </a:xfrm>
          <a:solidFill>
            <a:srgbClr val="3C5C4F"/>
          </a:solidFill>
        </p:grpSpPr>
        <p:sp>
          <p:nvSpPr>
            <p:cNvPr id="7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7 w 512"/>
                <a:gd name="T1" fmla="*/ 18 h 408"/>
                <a:gd name="T2" fmla="*/ 43 w 512"/>
                <a:gd name="T3" fmla="*/ 18 h 408"/>
                <a:gd name="T4" fmla="*/ 41 w 512"/>
                <a:gd name="T5" fmla="*/ 19 h 408"/>
                <a:gd name="T6" fmla="*/ 39 w 512"/>
                <a:gd name="T7" fmla="*/ 20 h 408"/>
                <a:gd name="T8" fmla="*/ 39 w 512"/>
                <a:gd name="T9" fmla="*/ 23 h 408"/>
                <a:gd name="T10" fmla="*/ 36 w 512"/>
                <a:gd name="T11" fmla="*/ 28 h 408"/>
                <a:gd name="T12" fmla="*/ 34 w 512"/>
                <a:gd name="T13" fmla="*/ 31 h 408"/>
                <a:gd name="T14" fmla="*/ 32 w 512"/>
                <a:gd name="T15" fmla="*/ 32 h 408"/>
                <a:gd name="T16" fmla="*/ 30 w 512"/>
                <a:gd name="T17" fmla="*/ 33 h 408"/>
                <a:gd name="T18" fmla="*/ 29 w 512"/>
                <a:gd name="T19" fmla="*/ 34 h 408"/>
                <a:gd name="T20" fmla="*/ 28 w 512"/>
                <a:gd name="T21" fmla="*/ 35 h 408"/>
                <a:gd name="T22" fmla="*/ 24 w 512"/>
                <a:gd name="T23" fmla="*/ 34 h 408"/>
                <a:gd name="T24" fmla="*/ 20 w 512"/>
                <a:gd name="T25" fmla="*/ 34 h 408"/>
                <a:gd name="T26" fmla="*/ 17 w 512"/>
                <a:gd name="T27" fmla="*/ 34 h 408"/>
                <a:gd name="T28" fmla="*/ 15 w 512"/>
                <a:gd name="T29" fmla="*/ 36 h 408"/>
                <a:gd name="T30" fmla="*/ 11 w 512"/>
                <a:gd name="T31" fmla="*/ 37 h 408"/>
                <a:gd name="T32" fmla="*/ 7 w 512"/>
                <a:gd name="T33" fmla="*/ 38 h 408"/>
                <a:gd name="T34" fmla="*/ 5 w 512"/>
                <a:gd name="T35" fmla="*/ 37 h 408"/>
                <a:gd name="T36" fmla="*/ 2 w 512"/>
                <a:gd name="T37" fmla="*/ 34 h 408"/>
                <a:gd name="T38" fmla="*/ 0 w 512"/>
                <a:gd name="T39" fmla="*/ 32 h 408"/>
                <a:gd name="T40" fmla="*/ 1 w 512"/>
                <a:gd name="T41" fmla="*/ 31 h 408"/>
                <a:gd name="T42" fmla="*/ 4 w 512"/>
                <a:gd name="T43" fmla="*/ 32 h 408"/>
                <a:gd name="T44" fmla="*/ 6 w 512"/>
                <a:gd name="T45" fmla="*/ 31 h 408"/>
                <a:gd name="T46" fmla="*/ 6 w 512"/>
                <a:gd name="T47" fmla="*/ 29 h 408"/>
                <a:gd name="T48" fmla="*/ 8 w 512"/>
                <a:gd name="T49" fmla="*/ 28 h 408"/>
                <a:gd name="T50" fmla="*/ 9 w 512"/>
                <a:gd name="T51" fmla="*/ 26 h 408"/>
                <a:gd name="T52" fmla="*/ 10 w 512"/>
                <a:gd name="T53" fmla="*/ 25 h 408"/>
                <a:gd name="T54" fmla="*/ 11 w 512"/>
                <a:gd name="T55" fmla="*/ 24 h 408"/>
                <a:gd name="T56" fmla="*/ 15 w 512"/>
                <a:gd name="T57" fmla="*/ 23 h 408"/>
                <a:gd name="T58" fmla="*/ 19 w 512"/>
                <a:gd name="T59" fmla="*/ 22 h 408"/>
                <a:gd name="T60" fmla="*/ 22 w 512"/>
                <a:gd name="T61" fmla="*/ 20 h 408"/>
                <a:gd name="T62" fmla="*/ 24 w 512"/>
                <a:gd name="T63" fmla="*/ 19 h 408"/>
                <a:gd name="T64" fmla="*/ 24 w 512"/>
                <a:gd name="T65" fmla="*/ 18 h 408"/>
                <a:gd name="T66" fmla="*/ 25 w 512"/>
                <a:gd name="T67" fmla="*/ 15 h 408"/>
                <a:gd name="T68" fmla="*/ 25 w 512"/>
                <a:gd name="T69" fmla="*/ 14 h 408"/>
                <a:gd name="T70" fmla="*/ 26 w 512"/>
                <a:gd name="T71" fmla="*/ 14 h 408"/>
                <a:gd name="T72" fmla="*/ 27 w 512"/>
                <a:gd name="T73" fmla="*/ 13 h 408"/>
                <a:gd name="T74" fmla="*/ 26 w 512"/>
                <a:gd name="T75" fmla="*/ 14 h 408"/>
                <a:gd name="T76" fmla="*/ 27 w 512"/>
                <a:gd name="T77" fmla="*/ 16 h 408"/>
                <a:gd name="T78" fmla="*/ 28 w 512"/>
                <a:gd name="T79" fmla="*/ 18 h 408"/>
                <a:gd name="T80" fmla="*/ 30 w 512"/>
                <a:gd name="T81" fmla="*/ 19 h 408"/>
                <a:gd name="T82" fmla="*/ 34 w 512"/>
                <a:gd name="T83" fmla="*/ 19 h 408"/>
                <a:gd name="T84" fmla="*/ 36 w 512"/>
                <a:gd name="T85" fmla="*/ 19 h 408"/>
                <a:gd name="T86" fmla="*/ 36 w 512"/>
                <a:gd name="T87" fmla="*/ 18 h 408"/>
                <a:gd name="T88" fmla="*/ 36 w 512"/>
                <a:gd name="T89" fmla="*/ 16 h 408"/>
                <a:gd name="T90" fmla="*/ 33 w 512"/>
                <a:gd name="T91" fmla="*/ 12 h 408"/>
                <a:gd name="T92" fmla="*/ 36 w 512"/>
                <a:gd name="T93" fmla="*/ 10 h 408"/>
                <a:gd name="T94" fmla="*/ 38 w 512"/>
                <a:gd name="T95" fmla="*/ 6 h 408"/>
                <a:gd name="T96" fmla="*/ 42 w 512"/>
                <a:gd name="T97" fmla="*/ 2 h 408"/>
                <a:gd name="T98" fmla="*/ 44 w 512"/>
                <a:gd name="T99" fmla="*/ 0 h 408"/>
                <a:gd name="T100" fmla="*/ 45 w 512"/>
                <a:gd name="T101" fmla="*/ 2 h 408"/>
                <a:gd name="T102" fmla="*/ 46 w 512"/>
                <a:gd name="T103" fmla="*/ 5 h 408"/>
                <a:gd name="T104" fmla="*/ 49 w 512"/>
                <a:gd name="T105" fmla="*/ 7 h 408"/>
                <a:gd name="T106" fmla="*/ 54 w 512"/>
                <a:gd name="T107" fmla="*/ 10 h 408"/>
                <a:gd name="T108" fmla="*/ 57 w 512"/>
                <a:gd name="T109" fmla="*/ 12 h 408"/>
                <a:gd name="T110" fmla="*/ 56 w 512"/>
                <a:gd name="T111" fmla="*/ 14 h 408"/>
                <a:gd name="T112" fmla="*/ 53 w 512"/>
                <a:gd name="T113" fmla="*/ 14 h 408"/>
                <a:gd name="T114" fmla="*/ 51 w 512"/>
                <a:gd name="T115" fmla="*/ 17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7 w 232"/>
                <a:gd name="T1" fmla="*/ 2 h 289"/>
                <a:gd name="T2" fmla="*/ 18 w 232"/>
                <a:gd name="T3" fmla="*/ 5 h 289"/>
                <a:gd name="T4" fmla="*/ 19 w 232"/>
                <a:gd name="T5" fmla="*/ 5 h 289"/>
                <a:gd name="T6" fmla="*/ 20 w 232"/>
                <a:gd name="T7" fmla="*/ 6 h 289"/>
                <a:gd name="T8" fmla="*/ 21 w 232"/>
                <a:gd name="T9" fmla="*/ 16 h 289"/>
                <a:gd name="T10" fmla="*/ 21 w 232"/>
                <a:gd name="T11" fmla="*/ 18 h 289"/>
                <a:gd name="T12" fmla="*/ 21 w 232"/>
                <a:gd name="T13" fmla="*/ 20 h 289"/>
                <a:gd name="T14" fmla="*/ 22 w 232"/>
                <a:gd name="T15" fmla="*/ 21 h 289"/>
                <a:gd name="T16" fmla="*/ 26 w 232"/>
                <a:gd name="T17" fmla="*/ 23 h 289"/>
                <a:gd name="T18" fmla="*/ 24 w 232"/>
                <a:gd name="T19" fmla="*/ 27 h 289"/>
                <a:gd name="T20" fmla="*/ 21 w 232"/>
                <a:gd name="T21" fmla="*/ 27 h 289"/>
                <a:gd name="T22" fmla="*/ 17 w 232"/>
                <a:gd name="T23" fmla="*/ 25 h 289"/>
                <a:gd name="T24" fmla="*/ 13 w 232"/>
                <a:gd name="T25" fmla="*/ 22 h 289"/>
                <a:gd name="T26" fmla="*/ 9 w 232"/>
                <a:gd name="T27" fmla="*/ 20 h 289"/>
                <a:gd name="T28" fmla="*/ 6 w 232"/>
                <a:gd name="T29" fmla="*/ 17 h 289"/>
                <a:gd name="T30" fmla="*/ 3 w 232"/>
                <a:gd name="T31" fmla="*/ 14 h 289"/>
                <a:gd name="T32" fmla="*/ 1 w 232"/>
                <a:gd name="T33" fmla="*/ 12 h 289"/>
                <a:gd name="T34" fmla="*/ 0 w 232"/>
                <a:gd name="T35" fmla="*/ 11 h 289"/>
                <a:gd name="T36" fmla="*/ 0 w 232"/>
                <a:gd name="T37" fmla="*/ 10 h 289"/>
                <a:gd name="T38" fmla="*/ 0 w 232"/>
                <a:gd name="T39" fmla="*/ 10 h 289"/>
                <a:gd name="T40" fmla="*/ 0 w 232"/>
                <a:gd name="T41" fmla="*/ 9 h 289"/>
                <a:gd name="T42" fmla="*/ 1 w 232"/>
                <a:gd name="T43" fmla="*/ 7 h 289"/>
                <a:gd name="T44" fmla="*/ 1 w 232"/>
                <a:gd name="T45" fmla="*/ 5 h 289"/>
                <a:gd name="T46" fmla="*/ 1 w 232"/>
                <a:gd name="T47" fmla="*/ 2 h 289"/>
                <a:gd name="T48" fmla="*/ 1 w 232"/>
                <a:gd name="T49" fmla="*/ 0 h 289"/>
                <a:gd name="T50" fmla="*/ 3 w 232"/>
                <a:gd name="T51" fmla="*/ 0 h 289"/>
                <a:gd name="T52" fmla="*/ 5 w 232"/>
                <a:gd name="T53" fmla="*/ 1 h 289"/>
                <a:gd name="T54" fmla="*/ 7 w 232"/>
                <a:gd name="T55" fmla="*/ 2 h 289"/>
                <a:gd name="T56" fmla="*/ 8 w 232"/>
                <a:gd name="T57" fmla="*/ 3 h 289"/>
                <a:gd name="T58" fmla="*/ 9 w 232"/>
                <a:gd name="T59" fmla="*/ 3 h 289"/>
                <a:gd name="T60" fmla="*/ 10 w 232"/>
                <a:gd name="T61" fmla="*/ 3 h 289"/>
                <a:gd name="T62" fmla="*/ 12 w 232"/>
                <a:gd name="T63" fmla="*/ 2 h 289"/>
                <a:gd name="T64" fmla="*/ 13 w 232"/>
                <a:gd name="T65" fmla="*/ 2 h 289"/>
                <a:gd name="T66" fmla="*/ 15 w 232"/>
                <a:gd name="T67" fmla="*/ 1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822282" y="3852707"/>
            <a:ext cx="3065462" cy="1074737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085682" y="4840132"/>
            <a:ext cx="280987" cy="247650"/>
          </a:xfrm>
          <a:custGeom>
            <a:avLst/>
            <a:gdLst>
              <a:gd name="T0" fmla="*/ 76575689 w 647"/>
              <a:gd name="T1" fmla="*/ 7496418 h 470"/>
              <a:gd name="T2" fmla="*/ 80724916 w 647"/>
              <a:gd name="T3" fmla="*/ 12493679 h 470"/>
              <a:gd name="T4" fmla="*/ 86383308 w 647"/>
              <a:gd name="T5" fmla="*/ 16658414 h 470"/>
              <a:gd name="T6" fmla="*/ 96568327 w 647"/>
              <a:gd name="T7" fmla="*/ 21655675 h 470"/>
              <a:gd name="T8" fmla="*/ 101471919 w 647"/>
              <a:gd name="T9" fmla="*/ 22488728 h 470"/>
              <a:gd name="T10" fmla="*/ 105998546 w 647"/>
              <a:gd name="T11" fmla="*/ 27486515 h 470"/>
              <a:gd name="T12" fmla="*/ 106941828 w 647"/>
              <a:gd name="T13" fmla="*/ 26931147 h 470"/>
              <a:gd name="T14" fmla="*/ 108450559 w 647"/>
              <a:gd name="T15" fmla="*/ 23599464 h 470"/>
              <a:gd name="T16" fmla="*/ 109959290 w 647"/>
              <a:gd name="T17" fmla="*/ 21655675 h 470"/>
              <a:gd name="T18" fmla="*/ 113731551 w 647"/>
              <a:gd name="T19" fmla="*/ 22211044 h 470"/>
              <a:gd name="T20" fmla="*/ 117692295 w 647"/>
              <a:gd name="T21" fmla="*/ 21933359 h 470"/>
              <a:gd name="T22" fmla="*/ 120710191 w 647"/>
              <a:gd name="T23" fmla="*/ 23321780 h 470"/>
              <a:gd name="T24" fmla="*/ 121841956 w 647"/>
              <a:gd name="T25" fmla="*/ 28596725 h 470"/>
              <a:gd name="T26" fmla="*/ 121841956 w 647"/>
              <a:gd name="T27" fmla="*/ 34149881 h 470"/>
              <a:gd name="T28" fmla="*/ 116560964 w 647"/>
              <a:gd name="T29" fmla="*/ 36370827 h 470"/>
              <a:gd name="T30" fmla="*/ 110525172 w 647"/>
              <a:gd name="T31" fmla="*/ 40535563 h 470"/>
              <a:gd name="T32" fmla="*/ 105621580 w 647"/>
              <a:gd name="T33" fmla="*/ 45810508 h 470"/>
              <a:gd name="T34" fmla="*/ 95059162 w 647"/>
              <a:gd name="T35" fmla="*/ 59414923 h 470"/>
              <a:gd name="T36" fmla="*/ 92230183 w 647"/>
              <a:gd name="T37" fmla="*/ 63024290 h 470"/>
              <a:gd name="T38" fmla="*/ 89400770 w 647"/>
              <a:gd name="T39" fmla="*/ 70520182 h 470"/>
              <a:gd name="T40" fmla="*/ 89212287 w 647"/>
              <a:gd name="T41" fmla="*/ 78294284 h 470"/>
              <a:gd name="T42" fmla="*/ 89212287 w 647"/>
              <a:gd name="T43" fmla="*/ 86346071 h 470"/>
              <a:gd name="T44" fmla="*/ 87326156 w 647"/>
              <a:gd name="T45" fmla="*/ 94397330 h 470"/>
              <a:gd name="T46" fmla="*/ 84874143 w 647"/>
              <a:gd name="T47" fmla="*/ 98284381 h 470"/>
              <a:gd name="T48" fmla="*/ 77518537 w 647"/>
              <a:gd name="T49" fmla="*/ 106613325 h 470"/>
              <a:gd name="T50" fmla="*/ 72237545 w 647"/>
              <a:gd name="T51" fmla="*/ 114109743 h 470"/>
              <a:gd name="T52" fmla="*/ 70539897 w 647"/>
              <a:gd name="T53" fmla="*/ 117996794 h 470"/>
              <a:gd name="T54" fmla="*/ 69597049 w 647"/>
              <a:gd name="T55" fmla="*/ 119940056 h 470"/>
              <a:gd name="T56" fmla="*/ 58469182 w 647"/>
              <a:gd name="T57" fmla="*/ 119107004 h 470"/>
              <a:gd name="T58" fmla="*/ 48472646 w 647"/>
              <a:gd name="T59" fmla="*/ 120495425 h 470"/>
              <a:gd name="T60" fmla="*/ 42248371 w 647"/>
              <a:gd name="T61" fmla="*/ 123827108 h 470"/>
              <a:gd name="T62" fmla="*/ 36401497 w 647"/>
              <a:gd name="T63" fmla="*/ 129657421 h 470"/>
              <a:gd name="T64" fmla="*/ 33761001 w 647"/>
              <a:gd name="T65" fmla="*/ 130212789 h 470"/>
              <a:gd name="T66" fmla="*/ 31874870 w 647"/>
              <a:gd name="T67" fmla="*/ 127991843 h 470"/>
              <a:gd name="T68" fmla="*/ 28857408 w 647"/>
              <a:gd name="T69" fmla="*/ 119940056 h 470"/>
              <a:gd name="T70" fmla="*/ 26405395 w 647"/>
              <a:gd name="T71" fmla="*/ 114942796 h 470"/>
              <a:gd name="T72" fmla="*/ 23010534 w 647"/>
              <a:gd name="T73" fmla="*/ 111055744 h 470"/>
              <a:gd name="T74" fmla="*/ 21501368 w 647"/>
              <a:gd name="T75" fmla="*/ 105225431 h 470"/>
              <a:gd name="T76" fmla="*/ 23764899 w 647"/>
              <a:gd name="T77" fmla="*/ 93286594 h 470"/>
              <a:gd name="T78" fmla="*/ 23953382 w 647"/>
              <a:gd name="T79" fmla="*/ 74129549 h 470"/>
              <a:gd name="T80" fmla="*/ 27725643 w 647"/>
              <a:gd name="T81" fmla="*/ 57193450 h 470"/>
              <a:gd name="T82" fmla="*/ 31686387 w 647"/>
              <a:gd name="T83" fmla="*/ 41368088 h 470"/>
              <a:gd name="T84" fmla="*/ 32440753 w 647"/>
              <a:gd name="T85" fmla="*/ 36370827 h 470"/>
              <a:gd name="T86" fmla="*/ 21878768 w 647"/>
              <a:gd name="T87" fmla="*/ 34149881 h 470"/>
              <a:gd name="T88" fmla="*/ 11693750 w 647"/>
              <a:gd name="T89" fmla="*/ 30262830 h 470"/>
              <a:gd name="T90" fmla="*/ 3206379 w 647"/>
              <a:gd name="T91" fmla="*/ 25820411 h 470"/>
              <a:gd name="T92" fmla="*/ 0 w 647"/>
              <a:gd name="T93" fmla="*/ 10550417 h 470"/>
              <a:gd name="T94" fmla="*/ 4338144 w 647"/>
              <a:gd name="T95" fmla="*/ 9439680 h 470"/>
              <a:gd name="T96" fmla="*/ 9619136 w 647"/>
              <a:gd name="T97" fmla="*/ 5552629 h 470"/>
              <a:gd name="T98" fmla="*/ 13768363 w 647"/>
              <a:gd name="T99" fmla="*/ 1110737 h 470"/>
              <a:gd name="T100" fmla="*/ 16220376 w 647"/>
              <a:gd name="T101" fmla="*/ 0 h 470"/>
              <a:gd name="T102" fmla="*/ 24896664 w 647"/>
              <a:gd name="T103" fmla="*/ 1943262 h 470"/>
              <a:gd name="T104" fmla="*/ 32252270 w 647"/>
              <a:gd name="T105" fmla="*/ 4720104 h 470"/>
              <a:gd name="T106" fmla="*/ 39419393 w 647"/>
              <a:gd name="T107" fmla="*/ 5552629 h 470"/>
              <a:gd name="T108" fmla="*/ 44323419 w 647"/>
              <a:gd name="T109" fmla="*/ 8051786 h 470"/>
              <a:gd name="T110" fmla="*/ 48661129 w 647"/>
              <a:gd name="T111" fmla="*/ 10272733 h 470"/>
              <a:gd name="T112" fmla="*/ 72614511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717757" y="5578319"/>
            <a:ext cx="207962" cy="455613"/>
          </a:xfrm>
          <a:custGeom>
            <a:avLst/>
            <a:gdLst>
              <a:gd name="T0" fmla="*/ 71439072 w 479"/>
              <a:gd name="T1" fmla="*/ 98360443 h 868"/>
              <a:gd name="T2" fmla="*/ 62768489 w 479"/>
              <a:gd name="T3" fmla="*/ 101942359 h 868"/>
              <a:gd name="T4" fmla="*/ 59187114 w 479"/>
              <a:gd name="T5" fmla="*/ 107452757 h 868"/>
              <a:gd name="T6" fmla="*/ 59563964 w 479"/>
              <a:gd name="T7" fmla="*/ 117922408 h 868"/>
              <a:gd name="T8" fmla="*/ 66349864 w 479"/>
              <a:gd name="T9" fmla="*/ 135555890 h 868"/>
              <a:gd name="T10" fmla="*/ 67669272 w 479"/>
              <a:gd name="T11" fmla="*/ 146025541 h 868"/>
              <a:gd name="T12" fmla="*/ 68988680 w 479"/>
              <a:gd name="T13" fmla="*/ 152913276 h 868"/>
              <a:gd name="T14" fmla="*/ 60883372 w 479"/>
              <a:gd name="T15" fmla="*/ 144923252 h 868"/>
              <a:gd name="T16" fmla="*/ 58244556 w 479"/>
              <a:gd name="T17" fmla="*/ 135555890 h 868"/>
              <a:gd name="T18" fmla="*/ 50704956 w 479"/>
              <a:gd name="T19" fmla="*/ 128667631 h 868"/>
              <a:gd name="T20" fmla="*/ 39583548 w 479"/>
              <a:gd name="T21" fmla="*/ 120953179 h 868"/>
              <a:gd name="T22" fmla="*/ 36379457 w 479"/>
              <a:gd name="T23" fmla="*/ 111860865 h 868"/>
              <a:gd name="T24" fmla="*/ 29405132 w 479"/>
              <a:gd name="T25" fmla="*/ 131422830 h 868"/>
              <a:gd name="T26" fmla="*/ 29405132 w 479"/>
              <a:gd name="T27" fmla="*/ 144372107 h 868"/>
              <a:gd name="T28" fmla="*/ 24881199 w 479"/>
              <a:gd name="T29" fmla="*/ 158423674 h 868"/>
              <a:gd name="T30" fmla="*/ 24127065 w 479"/>
              <a:gd name="T31" fmla="*/ 171097904 h 868"/>
              <a:gd name="T32" fmla="*/ 29027848 w 479"/>
              <a:gd name="T33" fmla="*/ 179087928 h 868"/>
              <a:gd name="T34" fmla="*/ 32986507 w 479"/>
              <a:gd name="T35" fmla="*/ 188730862 h 868"/>
              <a:gd name="T36" fmla="*/ 34871190 w 479"/>
              <a:gd name="T37" fmla="*/ 201129519 h 868"/>
              <a:gd name="T38" fmla="*/ 42599648 w 479"/>
              <a:gd name="T39" fmla="*/ 214905513 h 868"/>
              <a:gd name="T40" fmla="*/ 52966923 w 479"/>
              <a:gd name="T41" fmla="*/ 227303646 h 868"/>
              <a:gd name="T42" fmla="*/ 64087897 w 479"/>
              <a:gd name="T43" fmla="*/ 234191906 h 868"/>
              <a:gd name="T44" fmla="*/ 56171014 w 479"/>
              <a:gd name="T45" fmla="*/ 238875586 h 868"/>
              <a:gd name="T46" fmla="*/ 50704956 w 479"/>
              <a:gd name="T47" fmla="*/ 238048869 h 868"/>
              <a:gd name="T48" fmla="*/ 43164923 w 479"/>
              <a:gd name="T49" fmla="*/ 231712279 h 868"/>
              <a:gd name="T50" fmla="*/ 37698865 w 479"/>
              <a:gd name="T51" fmla="*/ 226753026 h 868"/>
              <a:gd name="T52" fmla="*/ 25823757 w 479"/>
              <a:gd name="T53" fmla="*/ 209119543 h 868"/>
              <a:gd name="T54" fmla="*/ 15644907 w 479"/>
              <a:gd name="T55" fmla="*/ 201129519 h 868"/>
              <a:gd name="T56" fmla="*/ 13948650 w 479"/>
              <a:gd name="T57" fmla="*/ 189557579 h 868"/>
              <a:gd name="T58" fmla="*/ 15079633 w 479"/>
              <a:gd name="T59" fmla="*/ 179914645 h 868"/>
              <a:gd name="T60" fmla="*/ 16587466 w 479"/>
              <a:gd name="T61" fmla="*/ 169995614 h 868"/>
              <a:gd name="T62" fmla="*/ 22619232 w 479"/>
              <a:gd name="T63" fmla="*/ 137208800 h 868"/>
              <a:gd name="T64" fmla="*/ 20357266 w 479"/>
              <a:gd name="T65" fmla="*/ 111310245 h 868"/>
              <a:gd name="T66" fmla="*/ 11686683 w 479"/>
              <a:gd name="T67" fmla="*/ 87890792 h 868"/>
              <a:gd name="T68" fmla="*/ 12063533 w 479"/>
              <a:gd name="T69" fmla="*/ 78522906 h 868"/>
              <a:gd name="T70" fmla="*/ 13948650 w 479"/>
              <a:gd name="T71" fmla="*/ 73012508 h 868"/>
              <a:gd name="T72" fmla="*/ 10555700 w 479"/>
              <a:gd name="T73" fmla="*/ 55655123 h 868"/>
              <a:gd name="T74" fmla="*/ 4335508 w 479"/>
              <a:gd name="T75" fmla="*/ 43532037 h 868"/>
              <a:gd name="T76" fmla="*/ 188425 w 479"/>
              <a:gd name="T77" fmla="*/ 28103134 h 868"/>
              <a:gd name="T78" fmla="*/ 2073542 w 479"/>
              <a:gd name="T79" fmla="*/ 12123085 h 868"/>
              <a:gd name="T80" fmla="*/ 9236291 w 479"/>
              <a:gd name="T81" fmla="*/ 4408108 h 868"/>
              <a:gd name="T82" fmla="*/ 22619232 w 479"/>
              <a:gd name="T83" fmla="*/ 0 h 868"/>
              <a:gd name="T84" fmla="*/ 29405132 w 479"/>
              <a:gd name="T85" fmla="*/ 7714452 h 868"/>
              <a:gd name="T86" fmla="*/ 33740206 w 479"/>
              <a:gd name="T87" fmla="*/ 9918506 h 868"/>
              <a:gd name="T88" fmla="*/ 37133156 w 479"/>
              <a:gd name="T89" fmla="*/ 37470495 h 868"/>
              <a:gd name="T90" fmla="*/ 40149257 w 479"/>
              <a:gd name="T91" fmla="*/ 45736092 h 868"/>
              <a:gd name="T92" fmla="*/ 43542207 w 479"/>
              <a:gd name="T93" fmla="*/ 42705320 h 868"/>
              <a:gd name="T94" fmla="*/ 48631414 w 479"/>
              <a:gd name="T95" fmla="*/ 34715296 h 868"/>
              <a:gd name="T96" fmla="*/ 52966923 w 479"/>
              <a:gd name="T97" fmla="*/ 38848357 h 868"/>
              <a:gd name="T98" fmla="*/ 56171014 w 479"/>
              <a:gd name="T99" fmla="*/ 37470495 h 868"/>
              <a:gd name="T100" fmla="*/ 59563964 w 479"/>
              <a:gd name="T101" fmla="*/ 29756043 h 868"/>
              <a:gd name="T102" fmla="*/ 65218880 w 479"/>
              <a:gd name="T103" fmla="*/ 29756043 h 868"/>
              <a:gd name="T104" fmla="*/ 72946905 w 479"/>
              <a:gd name="T105" fmla="*/ 43256465 h 868"/>
              <a:gd name="T106" fmla="*/ 85576146 w 479"/>
              <a:gd name="T107" fmla="*/ 67777683 h 868"/>
              <a:gd name="T108" fmla="*/ 90100079 w 479"/>
              <a:gd name="T109" fmla="*/ 84584448 h 868"/>
              <a:gd name="T110" fmla="*/ 88214962 w 479"/>
              <a:gd name="T111" fmla="*/ 93125618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77410" y="7965919"/>
            <a:ext cx="23813" cy="57150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288507" y="4887757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291682" y="4884582"/>
            <a:ext cx="3175" cy="55562"/>
          </a:xfrm>
          <a:custGeom>
            <a:avLst/>
            <a:gdLst>
              <a:gd name="T0" fmla="*/ 0 w 6"/>
              <a:gd name="T1" fmla="*/ 128630660 h 24"/>
              <a:gd name="T2" fmla="*/ 0 w 6"/>
              <a:gd name="T3" fmla="*/ 101833571 h 24"/>
              <a:gd name="T4" fmla="*/ 279929 w 6"/>
              <a:gd name="T5" fmla="*/ 75034166 h 24"/>
              <a:gd name="T6" fmla="*/ 840317 w 6"/>
              <a:gd name="T7" fmla="*/ 42877658 h 24"/>
              <a:gd name="T8" fmla="*/ 1680104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267869" y="4938557"/>
            <a:ext cx="23813" cy="57150"/>
          </a:xfrm>
          <a:custGeom>
            <a:avLst/>
            <a:gdLst>
              <a:gd name="T0" fmla="*/ 0 w 47"/>
              <a:gd name="T1" fmla="*/ 17462310 h 67"/>
              <a:gd name="T2" fmla="*/ 0 w 47"/>
              <a:gd name="T3" fmla="*/ 21827888 h 67"/>
              <a:gd name="T4" fmla="*/ 513246 w 47"/>
              <a:gd name="T5" fmla="*/ 26192613 h 67"/>
              <a:gd name="T6" fmla="*/ 770123 w 47"/>
              <a:gd name="T7" fmla="*/ 30558190 h 67"/>
              <a:gd name="T8" fmla="*/ 1283369 w 47"/>
              <a:gd name="T9" fmla="*/ 34196172 h 67"/>
              <a:gd name="T10" fmla="*/ 2310368 w 47"/>
              <a:gd name="T11" fmla="*/ 42199731 h 67"/>
              <a:gd name="T12" fmla="*/ 3593736 w 47"/>
              <a:gd name="T13" fmla="*/ 48748097 h 67"/>
              <a:gd name="T14" fmla="*/ 12065084 w 47"/>
              <a:gd name="T15" fmla="*/ 48748097 h 67"/>
              <a:gd name="T16" fmla="*/ 12065084 w 47"/>
              <a:gd name="T17" fmla="*/ 0 h 67"/>
              <a:gd name="T18" fmla="*/ 9241471 w 47"/>
              <a:gd name="T19" fmla="*/ 1455193 h 67"/>
              <a:gd name="T20" fmla="*/ 6674227 w 47"/>
              <a:gd name="T21" fmla="*/ 2910385 h 67"/>
              <a:gd name="T22" fmla="*/ 4620735 w 47"/>
              <a:gd name="T23" fmla="*/ 5093174 h 67"/>
              <a:gd name="T24" fmla="*/ 2823614 w 47"/>
              <a:gd name="T25" fmla="*/ 6548366 h 67"/>
              <a:gd name="T26" fmla="*/ 1540245 w 47"/>
              <a:gd name="T27" fmla="*/ 8731155 h 67"/>
              <a:gd name="T28" fmla="*/ 770123 w 47"/>
              <a:gd name="T29" fmla="*/ 11641540 h 67"/>
              <a:gd name="T30" fmla="*/ 0 w 47"/>
              <a:gd name="T31" fmla="*/ 14551925 h 67"/>
              <a:gd name="T32" fmla="*/ 0 w 47"/>
              <a:gd name="T33" fmla="*/ 17462310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593432" y="4933794"/>
            <a:ext cx="49212" cy="57150"/>
          </a:xfrm>
          <a:custGeom>
            <a:avLst/>
            <a:gdLst>
              <a:gd name="T0" fmla="*/ 0 w 112"/>
              <a:gd name="T1" fmla="*/ 90725625 h 36"/>
              <a:gd name="T2" fmla="*/ 11390820 w 112"/>
              <a:gd name="T3" fmla="*/ 90725625 h 36"/>
              <a:gd name="T4" fmla="*/ 12935286 w 112"/>
              <a:gd name="T5" fmla="*/ 75604688 h 36"/>
              <a:gd name="T6" fmla="*/ 14479752 w 112"/>
              <a:gd name="T7" fmla="*/ 65524063 h 36"/>
              <a:gd name="T8" fmla="*/ 16217551 w 112"/>
              <a:gd name="T9" fmla="*/ 57964388 h 36"/>
              <a:gd name="T10" fmla="*/ 17569123 w 112"/>
              <a:gd name="T11" fmla="*/ 50403125 h 36"/>
              <a:gd name="T12" fmla="*/ 18920696 w 112"/>
              <a:gd name="T13" fmla="*/ 42843450 h 36"/>
              <a:gd name="T14" fmla="*/ 20078935 w 112"/>
              <a:gd name="T15" fmla="*/ 32762825 h 36"/>
              <a:gd name="T16" fmla="*/ 20658055 w 112"/>
              <a:gd name="T17" fmla="*/ 27722513 h 36"/>
              <a:gd name="T18" fmla="*/ 21044282 w 112"/>
              <a:gd name="T19" fmla="*/ 20161250 h 36"/>
              <a:gd name="T20" fmla="*/ 21430508 w 112"/>
              <a:gd name="T21" fmla="*/ 10080625 h 36"/>
              <a:gd name="T22" fmla="*/ 21623401 w 112"/>
              <a:gd name="T23" fmla="*/ 0 h 36"/>
              <a:gd name="T24" fmla="*/ 19306483 w 112"/>
              <a:gd name="T25" fmla="*/ 0 h 36"/>
              <a:gd name="T26" fmla="*/ 16410444 w 112"/>
              <a:gd name="T27" fmla="*/ 2520950 h 36"/>
              <a:gd name="T28" fmla="*/ 12935286 w 112"/>
              <a:gd name="T29" fmla="*/ 7561263 h 36"/>
              <a:gd name="T30" fmla="*/ 9267235 w 112"/>
              <a:gd name="T31" fmla="*/ 17641888 h 36"/>
              <a:gd name="T32" fmla="*/ 7722769 w 112"/>
              <a:gd name="T33" fmla="*/ 22682200 h 36"/>
              <a:gd name="T34" fmla="*/ 5984970 w 112"/>
              <a:gd name="T35" fmla="*/ 27722513 h 36"/>
              <a:gd name="T36" fmla="*/ 4440504 w 112"/>
              <a:gd name="T37" fmla="*/ 35282188 h 36"/>
              <a:gd name="T38" fmla="*/ 3282265 w 112"/>
              <a:gd name="T39" fmla="*/ 45362813 h 36"/>
              <a:gd name="T40" fmla="*/ 1930692 w 112"/>
              <a:gd name="T41" fmla="*/ 55443438 h 36"/>
              <a:gd name="T42" fmla="*/ 1158240 w 112"/>
              <a:gd name="T43" fmla="*/ 65524063 h 36"/>
              <a:gd name="T44" fmla="*/ 192893 w 112"/>
              <a:gd name="T45" fmla="*/ 78125638 h 36"/>
              <a:gd name="T46" fmla="*/ 0 w 112"/>
              <a:gd name="T47" fmla="*/ 90725625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331869" y="4490882"/>
            <a:ext cx="874713" cy="452437"/>
          </a:xfrm>
          <a:custGeom>
            <a:avLst/>
            <a:gdLst>
              <a:gd name="T0" fmla="*/ 82329854 w 2006"/>
              <a:gd name="T1" fmla="*/ 210259479 h 863"/>
              <a:gd name="T2" fmla="*/ 78336959 w 2006"/>
              <a:gd name="T3" fmla="*/ 209984767 h 863"/>
              <a:gd name="T4" fmla="*/ 74153947 w 2006"/>
              <a:gd name="T5" fmla="*/ 218230339 h 863"/>
              <a:gd name="T6" fmla="*/ 71301755 w 2006"/>
              <a:gd name="T7" fmla="*/ 217680390 h 863"/>
              <a:gd name="T8" fmla="*/ 70351169 w 2006"/>
              <a:gd name="T9" fmla="*/ 206411930 h 863"/>
              <a:gd name="T10" fmla="*/ 61604912 w 2006"/>
              <a:gd name="T11" fmla="*/ 198991020 h 863"/>
              <a:gd name="T12" fmla="*/ 59323071 w 2006"/>
              <a:gd name="T13" fmla="*/ 194593521 h 863"/>
              <a:gd name="T14" fmla="*/ 54759825 w 2006"/>
              <a:gd name="T15" fmla="*/ 190195498 h 863"/>
              <a:gd name="T16" fmla="*/ 47724620 w 2006"/>
              <a:gd name="T17" fmla="*/ 176178339 h 863"/>
              <a:gd name="T18" fmla="*/ 44111960 w 2006"/>
              <a:gd name="T19" fmla="*/ 167658053 h 863"/>
              <a:gd name="T20" fmla="*/ 48104855 w 2006"/>
              <a:gd name="T21" fmla="*/ 163260555 h 863"/>
              <a:gd name="T22" fmla="*/ 53048335 w 2006"/>
              <a:gd name="T23" fmla="*/ 157488444 h 863"/>
              <a:gd name="T24" fmla="*/ 64266551 w 2006"/>
              <a:gd name="T25" fmla="*/ 149518108 h 863"/>
              <a:gd name="T26" fmla="*/ 60653890 w 2006"/>
              <a:gd name="T27" fmla="*/ 133851625 h 863"/>
              <a:gd name="T28" fmla="*/ 49055440 w 2006"/>
              <a:gd name="T29" fmla="*/ 130553501 h 863"/>
              <a:gd name="T30" fmla="*/ 39738831 w 2006"/>
              <a:gd name="T31" fmla="*/ 129179414 h 863"/>
              <a:gd name="T32" fmla="*/ 29851870 w 2006"/>
              <a:gd name="T33" fmla="*/ 136050375 h 863"/>
              <a:gd name="T34" fmla="*/ 20154591 w 2006"/>
              <a:gd name="T35" fmla="*/ 138799074 h 863"/>
              <a:gd name="T36" fmla="*/ 5133597 w 2006"/>
              <a:gd name="T37" fmla="*/ 113512931 h 863"/>
              <a:gd name="T38" fmla="*/ 3802778 w 2006"/>
              <a:gd name="T39" fmla="*/ 77782466 h 863"/>
              <a:gd name="T40" fmla="*/ 21485411 w 2006"/>
              <a:gd name="T41" fmla="*/ 71186217 h 863"/>
              <a:gd name="T42" fmla="*/ 55520293 w 2006"/>
              <a:gd name="T43" fmla="*/ 61016608 h 863"/>
              <a:gd name="T44" fmla="*/ 94688772 w 2006"/>
              <a:gd name="T45" fmla="*/ 69536893 h 863"/>
              <a:gd name="T46" fmla="*/ 136329210 w 2006"/>
              <a:gd name="T47" fmla="*/ 69536893 h 863"/>
              <a:gd name="T48" fmla="*/ 125110994 w 2006"/>
              <a:gd name="T49" fmla="*/ 50846999 h 863"/>
              <a:gd name="T50" fmla="*/ 157814621 w 2006"/>
              <a:gd name="T51" fmla="*/ 18689895 h 863"/>
              <a:gd name="T52" fmla="*/ 199645175 w 2006"/>
              <a:gd name="T53" fmla="*/ 3572837 h 863"/>
              <a:gd name="T54" fmla="*/ 223602544 w 2006"/>
              <a:gd name="T55" fmla="*/ 16765858 h 863"/>
              <a:gd name="T56" fmla="*/ 246419210 w 2006"/>
              <a:gd name="T57" fmla="*/ 30508304 h 863"/>
              <a:gd name="T58" fmla="*/ 274179357 w 2006"/>
              <a:gd name="T59" fmla="*/ 27210180 h 863"/>
              <a:gd name="T60" fmla="*/ 313157719 w 2006"/>
              <a:gd name="T61" fmla="*/ 74484342 h 863"/>
              <a:gd name="T62" fmla="*/ 340917866 w 2006"/>
              <a:gd name="T63" fmla="*/ 72835017 h 863"/>
              <a:gd name="T64" fmla="*/ 380276462 w 2006"/>
              <a:gd name="T65" fmla="*/ 93173712 h 863"/>
              <a:gd name="T66" fmla="*/ 380656696 w 2006"/>
              <a:gd name="T67" fmla="*/ 104717409 h 863"/>
              <a:gd name="T68" fmla="*/ 376663802 w 2006"/>
              <a:gd name="T69" fmla="*/ 109664857 h 863"/>
              <a:gd name="T70" fmla="*/ 372670907 w 2006"/>
              <a:gd name="T71" fmla="*/ 111038944 h 863"/>
              <a:gd name="T72" fmla="*/ 373241258 w 2006"/>
              <a:gd name="T73" fmla="*/ 116811055 h 863"/>
              <a:gd name="T74" fmla="*/ 377424270 w 2006"/>
              <a:gd name="T75" fmla="*/ 128079515 h 863"/>
              <a:gd name="T76" fmla="*/ 376283567 w 2006"/>
              <a:gd name="T77" fmla="*/ 131378163 h 863"/>
              <a:gd name="T78" fmla="*/ 368678012 w 2006"/>
              <a:gd name="T79" fmla="*/ 132202301 h 863"/>
              <a:gd name="T80" fmla="*/ 359931754 w 2006"/>
              <a:gd name="T81" fmla="*/ 130278789 h 863"/>
              <a:gd name="T82" fmla="*/ 354417487 w 2006"/>
              <a:gd name="T83" fmla="*/ 130278789 h 863"/>
              <a:gd name="T84" fmla="*/ 357079562 w 2006"/>
              <a:gd name="T85" fmla="*/ 150617483 h 863"/>
              <a:gd name="T86" fmla="*/ 357459796 w 2006"/>
              <a:gd name="T87" fmla="*/ 161061805 h 863"/>
              <a:gd name="T88" fmla="*/ 340157397 w 2006"/>
              <a:gd name="T89" fmla="*/ 161611230 h 863"/>
              <a:gd name="T90" fmla="*/ 336164066 w 2006"/>
              <a:gd name="T91" fmla="*/ 166008729 h 863"/>
              <a:gd name="T92" fmla="*/ 341298100 w 2006"/>
              <a:gd name="T93" fmla="*/ 170131516 h 863"/>
              <a:gd name="T94" fmla="*/ 344910760 w 2006"/>
              <a:gd name="T95" fmla="*/ 178651801 h 863"/>
              <a:gd name="T96" fmla="*/ 348713538 w 2006"/>
              <a:gd name="T97" fmla="*/ 189371360 h 863"/>
              <a:gd name="T98" fmla="*/ 349283889 w 2006"/>
              <a:gd name="T99" fmla="*/ 194043571 h 863"/>
              <a:gd name="T100" fmla="*/ 349283889 w 2006"/>
              <a:gd name="T101" fmla="*/ 207236592 h 863"/>
              <a:gd name="T102" fmla="*/ 331030469 w 2006"/>
              <a:gd name="T103" fmla="*/ 203388518 h 863"/>
              <a:gd name="T104" fmla="*/ 280453656 w 2006"/>
              <a:gd name="T105" fmla="*/ 209984767 h 863"/>
              <a:gd name="T106" fmla="*/ 250221988 w 2006"/>
              <a:gd name="T107" fmla="*/ 218505052 h 863"/>
              <a:gd name="T108" fmla="*/ 217137691 w 2006"/>
              <a:gd name="T109" fmla="*/ 230323461 h 863"/>
              <a:gd name="T110" fmla="*/ 183103245 w 2006"/>
              <a:gd name="T111" fmla="*/ 191570109 h 863"/>
              <a:gd name="T112" fmla="*/ 130054474 w 2006"/>
              <a:gd name="T113" fmla="*/ 161061805 h 863"/>
              <a:gd name="T114" fmla="*/ 111040586 w 2006"/>
              <a:gd name="T115" fmla="*/ 228674661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562057" y="4794094"/>
            <a:ext cx="409575" cy="249238"/>
          </a:xfrm>
          <a:custGeom>
            <a:avLst/>
            <a:gdLst>
              <a:gd name="T0" fmla="*/ 118587914 w 950"/>
              <a:gd name="T1" fmla="*/ 125643645 h 468"/>
              <a:gd name="T2" fmla="*/ 103717755 w 950"/>
              <a:gd name="T3" fmla="*/ 118553144 h 468"/>
              <a:gd name="T4" fmla="*/ 87546872 w 950"/>
              <a:gd name="T5" fmla="*/ 106640845 h 468"/>
              <a:gd name="T6" fmla="*/ 72862961 w 950"/>
              <a:gd name="T7" fmla="*/ 87071402 h 468"/>
              <a:gd name="T8" fmla="*/ 56691647 w 950"/>
              <a:gd name="T9" fmla="*/ 73173721 h 468"/>
              <a:gd name="T10" fmla="*/ 47026108 w 950"/>
              <a:gd name="T11" fmla="*/ 59276572 h 468"/>
              <a:gd name="T12" fmla="*/ 34572441 w 950"/>
              <a:gd name="T13" fmla="*/ 48782480 h 468"/>
              <a:gd name="T14" fmla="*/ 24721516 w 950"/>
              <a:gd name="T15" fmla="*/ 53887599 h 468"/>
              <a:gd name="T16" fmla="*/ 18401558 w 950"/>
              <a:gd name="T17" fmla="*/ 68068602 h 468"/>
              <a:gd name="T18" fmla="*/ 7434864 w 950"/>
              <a:gd name="T19" fmla="*/ 69770663 h 468"/>
              <a:gd name="T20" fmla="*/ 0 w 950"/>
              <a:gd name="T21" fmla="*/ 6806647 h 468"/>
              <a:gd name="T22" fmla="*/ 14683910 w 950"/>
              <a:gd name="T23" fmla="*/ 1701529 h 468"/>
              <a:gd name="T24" fmla="*/ 24721516 w 950"/>
              <a:gd name="T25" fmla="*/ 15599210 h 468"/>
              <a:gd name="T26" fmla="*/ 29182434 w 950"/>
              <a:gd name="T27" fmla="*/ 4254088 h 468"/>
              <a:gd name="T28" fmla="*/ 61710450 w 950"/>
              <a:gd name="T29" fmla="*/ 33183803 h 468"/>
              <a:gd name="T30" fmla="*/ 81413163 w 950"/>
              <a:gd name="T31" fmla="*/ 33183803 h 468"/>
              <a:gd name="T32" fmla="*/ 97584046 w 950"/>
              <a:gd name="T33" fmla="*/ 38288921 h 468"/>
              <a:gd name="T34" fmla="*/ 110967233 w 950"/>
              <a:gd name="T35" fmla="*/ 64665545 h 468"/>
              <a:gd name="T36" fmla="*/ 124721623 w 950"/>
              <a:gd name="T37" fmla="*/ 71472192 h 468"/>
              <a:gd name="T38" fmla="*/ 135688317 w 950"/>
              <a:gd name="T39" fmla="*/ 73173721 h 468"/>
              <a:gd name="T40" fmla="*/ 147026647 w 950"/>
              <a:gd name="T41" fmla="*/ 60978100 h 468"/>
              <a:gd name="T42" fmla="*/ 156692186 w 950"/>
              <a:gd name="T43" fmla="*/ 55589660 h 468"/>
              <a:gd name="T44" fmla="*/ 153160356 w 950"/>
              <a:gd name="T45" fmla="*/ 71472192 h 468"/>
              <a:gd name="T46" fmla="*/ 161710557 w 950"/>
              <a:gd name="T47" fmla="*/ 68068602 h 468"/>
              <a:gd name="T48" fmla="*/ 176580716 w 950"/>
              <a:gd name="T49" fmla="*/ 80264222 h 468"/>
              <a:gd name="T50" fmla="*/ 164127050 w 950"/>
              <a:gd name="T51" fmla="*/ 90758314 h 468"/>
              <a:gd name="T52" fmla="*/ 153160356 w 950"/>
              <a:gd name="T53" fmla="*/ 80264222 h 468"/>
              <a:gd name="T54" fmla="*/ 142008275 w 950"/>
              <a:gd name="T55" fmla="*/ 78562693 h 468"/>
              <a:gd name="T56" fmla="*/ 136989472 w 950"/>
              <a:gd name="T57" fmla="*/ 90758314 h 468"/>
              <a:gd name="T58" fmla="*/ 127138116 w 950"/>
              <a:gd name="T59" fmla="*/ 101252405 h 468"/>
              <a:gd name="T60" fmla="*/ 131970670 w 950"/>
              <a:gd name="T61" fmla="*/ 110044435 h 468"/>
              <a:gd name="T62" fmla="*/ 138104810 w 950"/>
              <a:gd name="T63" fmla="*/ 123942116 h 468"/>
              <a:gd name="T64" fmla="*/ 133271825 w 950"/>
              <a:gd name="T65" fmla="*/ 132734147 h 468"/>
              <a:gd name="T66" fmla="*/ 130669946 w 950"/>
              <a:gd name="T67" fmla="*/ 131883116 h 468"/>
              <a:gd name="T68" fmla="*/ 127138116 w 950"/>
              <a:gd name="T69" fmla="*/ 130748764 h 468"/>
              <a:gd name="T70" fmla="*/ 122305562 w 950"/>
              <a:gd name="T71" fmla="*/ 130748764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369844" y="5797394"/>
            <a:ext cx="296863" cy="288925"/>
          </a:xfrm>
          <a:custGeom>
            <a:avLst/>
            <a:gdLst>
              <a:gd name="T0" fmla="*/ 1174622 w 671"/>
              <a:gd name="T1" fmla="*/ 106077577 h 549"/>
              <a:gd name="T2" fmla="*/ 1565720 w 671"/>
              <a:gd name="T3" fmla="*/ 87521119 h 549"/>
              <a:gd name="T4" fmla="*/ 3327432 w 671"/>
              <a:gd name="T5" fmla="*/ 79489109 h 549"/>
              <a:gd name="T6" fmla="*/ 10178286 w 671"/>
              <a:gd name="T7" fmla="*/ 65917528 h 549"/>
              <a:gd name="T8" fmla="*/ 13897259 w 671"/>
              <a:gd name="T9" fmla="*/ 56777710 h 549"/>
              <a:gd name="T10" fmla="*/ 14288799 w 671"/>
              <a:gd name="T11" fmla="*/ 46253261 h 549"/>
              <a:gd name="T12" fmla="*/ 14288799 w 671"/>
              <a:gd name="T13" fmla="*/ 37944431 h 549"/>
              <a:gd name="T14" fmla="*/ 10569827 w 671"/>
              <a:gd name="T15" fmla="*/ 29912421 h 549"/>
              <a:gd name="T16" fmla="*/ 11939998 w 671"/>
              <a:gd name="T17" fmla="*/ 21880411 h 549"/>
              <a:gd name="T18" fmla="*/ 14875889 w 671"/>
              <a:gd name="T19" fmla="*/ 13848402 h 549"/>
              <a:gd name="T20" fmla="*/ 18790410 w 671"/>
              <a:gd name="T21" fmla="*/ 6924201 h 549"/>
              <a:gd name="T22" fmla="*/ 23488013 w 671"/>
              <a:gd name="T23" fmla="*/ 1938797 h 549"/>
              <a:gd name="T24" fmla="*/ 28577156 w 671"/>
              <a:gd name="T25" fmla="*/ 0 h 549"/>
              <a:gd name="T26" fmla="*/ 33861848 w 671"/>
              <a:gd name="T27" fmla="*/ 1384630 h 549"/>
              <a:gd name="T28" fmla="*/ 40321163 w 671"/>
              <a:gd name="T29" fmla="*/ 7201021 h 549"/>
              <a:gd name="T30" fmla="*/ 46193387 w 671"/>
              <a:gd name="T31" fmla="*/ 12463246 h 549"/>
              <a:gd name="T32" fmla="*/ 50694998 w 671"/>
              <a:gd name="T33" fmla="*/ 13848402 h 549"/>
              <a:gd name="T34" fmla="*/ 53239791 w 671"/>
              <a:gd name="T35" fmla="*/ 12186425 h 549"/>
              <a:gd name="T36" fmla="*/ 55588592 w 671"/>
              <a:gd name="T37" fmla="*/ 9693986 h 549"/>
              <a:gd name="T38" fmla="*/ 58720475 w 671"/>
              <a:gd name="T39" fmla="*/ 8862998 h 549"/>
              <a:gd name="T40" fmla="*/ 62243455 w 671"/>
              <a:gd name="T41" fmla="*/ 10801795 h 549"/>
              <a:gd name="T42" fmla="*/ 65962428 w 671"/>
              <a:gd name="T43" fmla="*/ 18002817 h 549"/>
              <a:gd name="T44" fmla="*/ 69094310 w 671"/>
              <a:gd name="T45" fmla="*/ 21880411 h 549"/>
              <a:gd name="T46" fmla="*/ 72421742 w 671"/>
              <a:gd name="T47" fmla="*/ 22434053 h 549"/>
              <a:gd name="T48" fmla="*/ 74574994 w 671"/>
              <a:gd name="T49" fmla="*/ 20772602 h 549"/>
              <a:gd name="T50" fmla="*/ 77706434 w 671"/>
              <a:gd name="T51" fmla="*/ 15509852 h 549"/>
              <a:gd name="T52" fmla="*/ 82012496 w 671"/>
              <a:gd name="T53" fmla="*/ 10524448 h 549"/>
              <a:gd name="T54" fmla="*/ 89646432 w 671"/>
              <a:gd name="T55" fmla="*/ 6093212 h 549"/>
              <a:gd name="T56" fmla="*/ 95322665 w 671"/>
              <a:gd name="T57" fmla="*/ 6924201 h 549"/>
              <a:gd name="T58" fmla="*/ 100020268 w 671"/>
              <a:gd name="T59" fmla="*/ 9693986 h 549"/>
              <a:gd name="T60" fmla="*/ 105109411 w 671"/>
              <a:gd name="T61" fmla="*/ 11909604 h 549"/>
              <a:gd name="T62" fmla="*/ 111764274 w 671"/>
              <a:gd name="T63" fmla="*/ 10801795 h 549"/>
              <a:gd name="T64" fmla="*/ 126444614 w 671"/>
              <a:gd name="T65" fmla="*/ 18556458 h 549"/>
              <a:gd name="T66" fmla="*/ 130163144 w 671"/>
              <a:gd name="T67" fmla="*/ 29081433 h 549"/>
              <a:gd name="T68" fmla="*/ 121942561 w 671"/>
              <a:gd name="T69" fmla="*/ 50684497 h 549"/>
              <a:gd name="T70" fmla="*/ 116070336 w 671"/>
              <a:gd name="T71" fmla="*/ 64532899 h 549"/>
              <a:gd name="T72" fmla="*/ 111568725 w 671"/>
              <a:gd name="T73" fmla="*/ 80596918 h 549"/>
              <a:gd name="T74" fmla="*/ 107653761 w 671"/>
              <a:gd name="T75" fmla="*/ 94998961 h 549"/>
              <a:gd name="T76" fmla="*/ 102760610 w 671"/>
              <a:gd name="T77" fmla="*/ 112724957 h 549"/>
              <a:gd name="T78" fmla="*/ 100998898 w 671"/>
              <a:gd name="T79" fmla="*/ 116879372 h 549"/>
              <a:gd name="T80" fmla="*/ 97867015 w 671"/>
              <a:gd name="T81" fmla="*/ 121587955 h 549"/>
              <a:gd name="T82" fmla="*/ 94344035 w 671"/>
              <a:gd name="T83" fmla="*/ 122695764 h 549"/>
              <a:gd name="T84" fmla="*/ 89841981 w 671"/>
              <a:gd name="T85" fmla="*/ 119649158 h 549"/>
              <a:gd name="T86" fmla="*/ 86123009 w 671"/>
              <a:gd name="T87" fmla="*/ 116602552 h 549"/>
              <a:gd name="T88" fmla="*/ 79859686 w 671"/>
              <a:gd name="T89" fmla="*/ 117433540 h 549"/>
              <a:gd name="T90" fmla="*/ 74574994 w 671"/>
              <a:gd name="T91" fmla="*/ 122141596 h 549"/>
              <a:gd name="T92" fmla="*/ 71247120 w 671"/>
              <a:gd name="T93" fmla="*/ 129896786 h 549"/>
              <a:gd name="T94" fmla="*/ 66941058 w 671"/>
              <a:gd name="T95" fmla="*/ 144298828 h 549"/>
              <a:gd name="T96" fmla="*/ 63613626 w 671"/>
              <a:gd name="T97" fmla="*/ 152054018 h 549"/>
              <a:gd name="T98" fmla="*/ 44823216 w 671"/>
              <a:gd name="T99" fmla="*/ 151223029 h 549"/>
              <a:gd name="T100" fmla="*/ 42474415 w 671"/>
              <a:gd name="T101" fmla="*/ 151777197 h 549"/>
              <a:gd name="T102" fmla="*/ 35036470 w 671"/>
              <a:gd name="T103" fmla="*/ 150392041 h 549"/>
              <a:gd name="T104" fmla="*/ 31513047 w 671"/>
              <a:gd name="T105" fmla="*/ 149561579 h 549"/>
              <a:gd name="T106" fmla="*/ 28185616 w 671"/>
              <a:gd name="T107" fmla="*/ 147068614 h 549"/>
              <a:gd name="T108" fmla="*/ 25249724 w 671"/>
              <a:gd name="T109" fmla="*/ 142637378 h 549"/>
              <a:gd name="T110" fmla="*/ 23292464 w 671"/>
              <a:gd name="T111" fmla="*/ 137374628 h 549"/>
              <a:gd name="T112" fmla="*/ 22117842 w 671"/>
              <a:gd name="T113" fmla="*/ 130727774 h 549"/>
              <a:gd name="T114" fmla="*/ 19573492 w 671"/>
              <a:gd name="T115" fmla="*/ 127404347 h 549"/>
              <a:gd name="T116" fmla="*/ 16246060 w 671"/>
              <a:gd name="T117" fmla="*/ 123803573 h 549"/>
              <a:gd name="T118" fmla="*/ 12331096 w 671"/>
              <a:gd name="T119" fmla="*/ 119649158 h 549"/>
              <a:gd name="T120" fmla="*/ 7633494 w 671"/>
              <a:gd name="T121" fmla="*/ 118818170 h 549"/>
              <a:gd name="T122" fmla="*/ 0 w 671"/>
              <a:gd name="T123" fmla="*/ 1213106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212807" y="5662457"/>
            <a:ext cx="152400" cy="169862"/>
          </a:xfrm>
          <a:custGeom>
            <a:avLst/>
            <a:gdLst>
              <a:gd name="T0" fmla="*/ 59077562 w 358"/>
              <a:gd name="T1" fmla="*/ 87426465 h 327"/>
              <a:gd name="T2" fmla="*/ 59983448 w 358"/>
              <a:gd name="T3" fmla="*/ 86616634 h 327"/>
              <a:gd name="T4" fmla="*/ 61070682 w 358"/>
              <a:gd name="T5" fmla="*/ 85807322 h 327"/>
              <a:gd name="T6" fmla="*/ 62701958 w 358"/>
              <a:gd name="T7" fmla="*/ 85807322 h 327"/>
              <a:gd name="T8" fmla="*/ 64514155 w 358"/>
              <a:gd name="T9" fmla="*/ 87426465 h 327"/>
              <a:gd name="T10" fmla="*/ 57808981 w 358"/>
              <a:gd name="T11" fmla="*/ 76902813 h 327"/>
              <a:gd name="T12" fmla="*/ 50378842 w 358"/>
              <a:gd name="T13" fmla="*/ 63410991 h 327"/>
              <a:gd name="T14" fmla="*/ 45848561 w 358"/>
              <a:gd name="T15" fmla="*/ 55046197 h 327"/>
              <a:gd name="T16" fmla="*/ 42042818 w 358"/>
              <a:gd name="T17" fmla="*/ 50189286 h 327"/>
              <a:gd name="T18" fmla="*/ 39687003 w 358"/>
              <a:gd name="T19" fmla="*/ 48839740 h 327"/>
              <a:gd name="T20" fmla="*/ 37693458 w 358"/>
              <a:gd name="T21" fmla="*/ 48570143 h 327"/>
              <a:gd name="T22" fmla="*/ 36424877 w 358"/>
              <a:gd name="T23" fmla="*/ 48300545 h 327"/>
              <a:gd name="T24" fmla="*/ 36062608 w 358"/>
              <a:gd name="T25" fmla="*/ 46951000 h 327"/>
              <a:gd name="T26" fmla="*/ 35881260 w 358"/>
              <a:gd name="T27" fmla="*/ 45871571 h 327"/>
              <a:gd name="T28" fmla="*/ 35337644 w 358"/>
              <a:gd name="T29" fmla="*/ 45601973 h 327"/>
              <a:gd name="T30" fmla="*/ 33344098 w 358"/>
              <a:gd name="T31" fmla="*/ 46411285 h 327"/>
              <a:gd name="T32" fmla="*/ 30988284 w 358"/>
              <a:gd name="T33" fmla="*/ 46411285 h 327"/>
              <a:gd name="T34" fmla="*/ 29901050 w 358"/>
              <a:gd name="T35" fmla="*/ 45332376 h 327"/>
              <a:gd name="T36" fmla="*/ 28995164 w 358"/>
              <a:gd name="T37" fmla="*/ 43443116 h 327"/>
              <a:gd name="T38" fmla="*/ 27545236 w 358"/>
              <a:gd name="T39" fmla="*/ 38856322 h 327"/>
              <a:gd name="T40" fmla="*/ 25914385 w 358"/>
              <a:gd name="T41" fmla="*/ 35348438 h 327"/>
              <a:gd name="T42" fmla="*/ 24102188 w 358"/>
              <a:gd name="T43" fmla="*/ 32110151 h 327"/>
              <a:gd name="T44" fmla="*/ 23014954 w 358"/>
              <a:gd name="T45" fmla="*/ 28332670 h 327"/>
              <a:gd name="T46" fmla="*/ 22108642 w 358"/>
              <a:gd name="T47" fmla="*/ 22665928 h 327"/>
              <a:gd name="T48" fmla="*/ 21565026 w 358"/>
              <a:gd name="T49" fmla="*/ 14301134 h 327"/>
              <a:gd name="T50" fmla="*/ 21202756 w 358"/>
              <a:gd name="T51" fmla="*/ 6205937 h 327"/>
              <a:gd name="T52" fmla="*/ 20296445 w 358"/>
              <a:gd name="T53" fmla="*/ 0 h 327"/>
              <a:gd name="T54" fmla="*/ 13229001 w 358"/>
              <a:gd name="T55" fmla="*/ 7015768 h 327"/>
              <a:gd name="T56" fmla="*/ 11054534 w 358"/>
              <a:gd name="T57" fmla="*/ 8904509 h 327"/>
              <a:gd name="T58" fmla="*/ 5980210 w 358"/>
              <a:gd name="T59" fmla="*/ 13491822 h 327"/>
              <a:gd name="T60" fmla="*/ 3805743 w 358"/>
              <a:gd name="T61" fmla="*/ 16459991 h 327"/>
              <a:gd name="T62" fmla="*/ 3080779 w 358"/>
              <a:gd name="T63" fmla="*/ 19428161 h 327"/>
              <a:gd name="T64" fmla="*/ 2899431 w 358"/>
              <a:gd name="T65" fmla="*/ 22396331 h 327"/>
              <a:gd name="T66" fmla="*/ 3624396 w 358"/>
              <a:gd name="T67" fmla="*/ 25094383 h 327"/>
              <a:gd name="T68" fmla="*/ 3986665 w 358"/>
              <a:gd name="T69" fmla="*/ 26983644 h 327"/>
              <a:gd name="T70" fmla="*/ 3624396 w 358"/>
              <a:gd name="T71" fmla="*/ 29681696 h 327"/>
              <a:gd name="T72" fmla="*/ 2718084 w 358"/>
              <a:gd name="T73" fmla="*/ 33189580 h 327"/>
              <a:gd name="T74" fmla="*/ 1268581 w 358"/>
              <a:gd name="T75" fmla="*/ 36697464 h 327"/>
              <a:gd name="T76" fmla="*/ 0 w 358"/>
              <a:gd name="T77" fmla="*/ 41824492 h 327"/>
              <a:gd name="T78" fmla="*/ 0 w 358"/>
              <a:gd name="T79" fmla="*/ 46951000 h 327"/>
              <a:gd name="T80" fmla="*/ 905886 w 358"/>
              <a:gd name="T81" fmla="*/ 49109857 h 327"/>
              <a:gd name="T82" fmla="*/ 1993545 w 358"/>
              <a:gd name="T83" fmla="*/ 50458884 h 327"/>
              <a:gd name="T84" fmla="*/ 3624396 w 358"/>
              <a:gd name="T85" fmla="*/ 50189286 h 327"/>
              <a:gd name="T86" fmla="*/ 7973755 w 358"/>
              <a:gd name="T87" fmla="*/ 45332376 h 327"/>
              <a:gd name="T88" fmla="*/ 10873187 w 358"/>
              <a:gd name="T89" fmla="*/ 43443116 h 327"/>
              <a:gd name="T90" fmla="*/ 13772618 w 358"/>
              <a:gd name="T91" fmla="*/ 40474946 h 327"/>
              <a:gd name="T92" fmla="*/ 16853397 w 358"/>
              <a:gd name="T93" fmla="*/ 42903401 h 327"/>
              <a:gd name="T94" fmla="*/ 19934175 w 358"/>
              <a:gd name="T95" fmla="*/ 44252947 h 327"/>
              <a:gd name="T96" fmla="*/ 25733038 w 358"/>
              <a:gd name="T97" fmla="*/ 48570143 h 327"/>
              <a:gd name="T98" fmla="*/ 29538781 w 358"/>
              <a:gd name="T99" fmla="*/ 51268715 h 327"/>
              <a:gd name="T100" fmla="*/ 35518991 w 358"/>
              <a:gd name="T101" fmla="*/ 56395223 h 327"/>
              <a:gd name="T102" fmla="*/ 39687003 w 358"/>
              <a:gd name="T103" fmla="*/ 60712938 h 327"/>
              <a:gd name="T104" fmla="*/ 44398632 w 358"/>
              <a:gd name="T105" fmla="*/ 65839446 h 327"/>
              <a:gd name="T106" fmla="*/ 46392178 w 358"/>
              <a:gd name="T107" fmla="*/ 68538018 h 327"/>
              <a:gd name="T108" fmla="*/ 48385297 w 358"/>
              <a:gd name="T109" fmla="*/ 72855214 h 327"/>
              <a:gd name="T110" fmla="*/ 48747992 w 358"/>
              <a:gd name="T111" fmla="*/ 75283670 h 327"/>
              <a:gd name="T112" fmla="*/ 48747992 w 358"/>
              <a:gd name="T113" fmla="*/ 77172410 h 327"/>
              <a:gd name="T114" fmla="*/ 48929340 w 358"/>
              <a:gd name="T115" fmla="*/ 78251839 h 327"/>
              <a:gd name="T116" fmla="*/ 50016573 w 358"/>
              <a:gd name="T117" fmla="*/ 78791554 h 327"/>
              <a:gd name="T118" fmla="*/ 52916004 w 358"/>
              <a:gd name="T119" fmla="*/ 81490126 h 327"/>
              <a:gd name="T120" fmla="*/ 57627634 w 358"/>
              <a:gd name="T121" fmla="*/ 86616634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674644" y="4667094"/>
            <a:ext cx="125413" cy="57150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538244" y="5387819"/>
            <a:ext cx="19050" cy="57150"/>
          </a:xfrm>
          <a:custGeom>
            <a:avLst/>
            <a:gdLst>
              <a:gd name="T0" fmla="*/ 7654556 w 43"/>
              <a:gd name="T1" fmla="*/ 35119597 h 93"/>
              <a:gd name="T2" fmla="*/ 6084481 w 43"/>
              <a:gd name="T3" fmla="*/ 34364356 h 93"/>
              <a:gd name="T4" fmla="*/ 5103185 w 43"/>
              <a:gd name="T5" fmla="*/ 33609116 h 93"/>
              <a:gd name="T6" fmla="*/ 4121445 w 43"/>
              <a:gd name="T7" fmla="*/ 32853876 h 93"/>
              <a:gd name="T8" fmla="*/ 3532667 w 43"/>
              <a:gd name="T9" fmla="*/ 31720708 h 93"/>
              <a:gd name="T10" fmla="*/ 2943890 w 43"/>
              <a:gd name="T11" fmla="*/ 29832915 h 93"/>
              <a:gd name="T12" fmla="*/ 2747630 w 43"/>
              <a:gd name="T13" fmla="*/ 27567194 h 93"/>
              <a:gd name="T14" fmla="*/ 2551371 w 43"/>
              <a:gd name="T15" fmla="*/ 24546232 h 93"/>
              <a:gd name="T16" fmla="*/ 2158852 w 43"/>
              <a:gd name="T17" fmla="*/ 20769416 h 93"/>
              <a:gd name="T18" fmla="*/ 2158852 w 43"/>
              <a:gd name="T19" fmla="*/ 18126382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0 h 93"/>
              <a:gd name="T26" fmla="*/ 392519 w 43"/>
              <a:gd name="T27" fmla="*/ 12839700 h 93"/>
              <a:gd name="T28" fmla="*/ 0 w 43"/>
              <a:gd name="T29" fmla="*/ 12084460 h 93"/>
              <a:gd name="T30" fmla="*/ 392519 w 43"/>
              <a:gd name="T31" fmla="*/ 10951292 h 93"/>
              <a:gd name="T32" fmla="*/ 981297 w 43"/>
              <a:gd name="T33" fmla="*/ 9062884 h 93"/>
              <a:gd name="T34" fmla="*/ 1177556 w 43"/>
              <a:gd name="T35" fmla="*/ 10573365 h 93"/>
              <a:gd name="T36" fmla="*/ 1373815 w 43"/>
              <a:gd name="T37" fmla="*/ 10951292 h 93"/>
              <a:gd name="T38" fmla="*/ 1570074 w 43"/>
              <a:gd name="T39" fmla="*/ 11328605 h 93"/>
              <a:gd name="T40" fmla="*/ 1766334 w 43"/>
              <a:gd name="T41" fmla="*/ 10951292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1 w 43"/>
              <a:gd name="T57" fmla="*/ 0 h 93"/>
              <a:gd name="T58" fmla="*/ 6477000 w 43"/>
              <a:gd name="T59" fmla="*/ 3776202 h 93"/>
              <a:gd name="T60" fmla="*/ 6477000 w 43"/>
              <a:gd name="T61" fmla="*/ 6041923 h 93"/>
              <a:gd name="T62" fmla="*/ 6477000 w 43"/>
              <a:gd name="T63" fmla="*/ 7552403 h 93"/>
              <a:gd name="T64" fmla="*/ 6280741 w 43"/>
              <a:gd name="T65" fmla="*/ 8685571 h 93"/>
              <a:gd name="T66" fmla="*/ 6280741 w 43"/>
              <a:gd name="T67" fmla="*/ 10196052 h 93"/>
              <a:gd name="T68" fmla="*/ 6280741 w 43"/>
              <a:gd name="T69" fmla="*/ 11706532 h 93"/>
              <a:gd name="T70" fmla="*/ 6869519 w 43"/>
              <a:gd name="T71" fmla="*/ 13594940 h 93"/>
              <a:gd name="T72" fmla="*/ 7654556 w 43"/>
              <a:gd name="T73" fmla="*/ 16237974 h 93"/>
              <a:gd name="T74" fmla="*/ 7458297 w 43"/>
              <a:gd name="T75" fmla="*/ 16615902 h 93"/>
              <a:gd name="T76" fmla="*/ 7262037 w 43"/>
              <a:gd name="T77" fmla="*/ 16993215 h 93"/>
              <a:gd name="T78" fmla="*/ 7262037 w 43"/>
              <a:gd name="T79" fmla="*/ 18126382 h 93"/>
              <a:gd name="T80" fmla="*/ 7458297 w 43"/>
              <a:gd name="T81" fmla="*/ 19258935 h 93"/>
              <a:gd name="T82" fmla="*/ 7654556 w 43"/>
              <a:gd name="T83" fmla="*/ 22279897 h 93"/>
              <a:gd name="T84" fmla="*/ 8047074 w 43"/>
              <a:gd name="T85" fmla="*/ 25678785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9 h 93"/>
              <a:gd name="T92" fmla="*/ 8243334 w 43"/>
              <a:gd name="T93" fmla="*/ 34364356 h 93"/>
              <a:gd name="T94" fmla="*/ 7850815 w 43"/>
              <a:gd name="T95" fmla="*/ 34741669 h 93"/>
              <a:gd name="T96" fmla="*/ 7654556 w 43"/>
              <a:gd name="T97" fmla="*/ 3511959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657307" y="5392582"/>
            <a:ext cx="14287" cy="57150"/>
          </a:xfrm>
          <a:custGeom>
            <a:avLst/>
            <a:gdLst>
              <a:gd name="T0" fmla="*/ 5102959 w 40"/>
              <a:gd name="T1" fmla="*/ 58323616 h 56"/>
              <a:gd name="T2" fmla="*/ 4720068 w 40"/>
              <a:gd name="T3" fmla="*/ 47909049 h 56"/>
              <a:gd name="T4" fmla="*/ 4210022 w 40"/>
              <a:gd name="T5" fmla="*/ 39576375 h 56"/>
              <a:gd name="T6" fmla="*/ 3572107 w 40"/>
              <a:gd name="T7" fmla="*/ 33327635 h 56"/>
              <a:gd name="T8" fmla="*/ 2934193 w 40"/>
              <a:gd name="T9" fmla="*/ 29161808 h 56"/>
              <a:gd name="T10" fmla="*/ 1403341 w 40"/>
              <a:gd name="T11" fmla="*/ 21871101 h 56"/>
              <a:gd name="T12" fmla="*/ 0 w 40"/>
              <a:gd name="T13" fmla="*/ 12497480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0 h 56"/>
              <a:gd name="T20" fmla="*/ 4465045 w 40"/>
              <a:gd name="T21" fmla="*/ 22913068 h 56"/>
              <a:gd name="T22" fmla="*/ 4720068 w 40"/>
              <a:gd name="T23" fmla="*/ 26036928 h 56"/>
              <a:gd name="T24" fmla="*/ 4975448 w 40"/>
              <a:gd name="T25" fmla="*/ 30203775 h 56"/>
              <a:gd name="T26" fmla="*/ 4975448 w 40"/>
              <a:gd name="T27" fmla="*/ 34369602 h 56"/>
              <a:gd name="T28" fmla="*/ 5102959 w 40"/>
              <a:gd name="T29" fmla="*/ 38535429 h 56"/>
              <a:gd name="T30" fmla="*/ 5102959 w 40"/>
              <a:gd name="T31" fmla="*/ 45826136 h 56"/>
              <a:gd name="T32" fmla="*/ 5102959 w 40"/>
              <a:gd name="T33" fmla="*/ 47909049 h 56"/>
              <a:gd name="T34" fmla="*/ 5102959 w 40"/>
              <a:gd name="T35" fmla="*/ 51032909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4794" y="6052982"/>
            <a:ext cx="44450" cy="57150"/>
          </a:xfrm>
          <a:custGeom>
            <a:avLst/>
            <a:gdLst>
              <a:gd name="T0" fmla="*/ 0 w 106"/>
              <a:gd name="T1" fmla="*/ 4535778 h 71"/>
              <a:gd name="T2" fmla="*/ 2110117 w 106"/>
              <a:gd name="T3" fmla="*/ 6478878 h 71"/>
              <a:gd name="T4" fmla="*/ 4220234 w 106"/>
              <a:gd name="T5" fmla="*/ 7774815 h 71"/>
              <a:gd name="T6" fmla="*/ 6154648 w 106"/>
              <a:gd name="T7" fmla="*/ 8422783 h 71"/>
              <a:gd name="T8" fmla="*/ 7912939 w 106"/>
              <a:gd name="T9" fmla="*/ 8422783 h 71"/>
              <a:gd name="T10" fmla="*/ 9495526 w 106"/>
              <a:gd name="T11" fmla="*/ 7126846 h 71"/>
              <a:gd name="T12" fmla="*/ 10726708 w 106"/>
              <a:gd name="T13" fmla="*/ 5182942 h 71"/>
              <a:gd name="T14" fmla="*/ 11957469 w 106"/>
              <a:gd name="T15" fmla="*/ 3239842 h 71"/>
              <a:gd name="T16" fmla="*/ 13012528 w 106"/>
              <a:gd name="T17" fmla="*/ 0 h 71"/>
              <a:gd name="T18" fmla="*/ 14771238 w 106"/>
              <a:gd name="T19" fmla="*/ 10366688 h 71"/>
              <a:gd name="T20" fmla="*/ 16529529 w 106"/>
              <a:gd name="T21" fmla="*/ 19437439 h 71"/>
              <a:gd name="T22" fmla="*/ 17760291 w 106"/>
              <a:gd name="T23" fmla="*/ 28508191 h 71"/>
              <a:gd name="T24" fmla="*/ 18463943 w 106"/>
              <a:gd name="T25" fmla="*/ 35635037 h 71"/>
              <a:gd name="T26" fmla="*/ 18639646 w 106"/>
              <a:gd name="T27" fmla="*/ 38874879 h 71"/>
              <a:gd name="T28" fmla="*/ 18639646 w 106"/>
              <a:gd name="T29" fmla="*/ 40818784 h 71"/>
              <a:gd name="T30" fmla="*/ 18463943 w 106"/>
              <a:gd name="T31" fmla="*/ 43409852 h 71"/>
              <a:gd name="T32" fmla="*/ 18112117 w 106"/>
              <a:gd name="T33" fmla="*/ 44705789 h 71"/>
              <a:gd name="T34" fmla="*/ 17760291 w 106"/>
              <a:gd name="T35" fmla="*/ 45353757 h 71"/>
              <a:gd name="T36" fmla="*/ 17232762 w 106"/>
              <a:gd name="T37" fmla="*/ 45353757 h 71"/>
              <a:gd name="T38" fmla="*/ 16177703 w 106"/>
              <a:gd name="T39" fmla="*/ 45353757 h 71"/>
              <a:gd name="T40" fmla="*/ 15298767 w 106"/>
              <a:gd name="T41" fmla="*/ 44057820 h 71"/>
              <a:gd name="T42" fmla="*/ 13012528 w 106"/>
              <a:gd name="T43" fmla="*/ 45353757 h 71"/>
              <a:gd name="T44" fmla="*/ 11078114 w 106"/>
              <a:gd name="T45" fmla="*/ 46001725 h 71"/>
              <a:gd name="T46" fmla="*/ 9319823 w 106"/>
              <a:gd name="T47" fmla="*/ 44705789 h 71"/>
              <a:gd name="T48" fmla="*/ 7912939 w 106"/>
              <a:gd name="T49" fmla="*/ 42761884 h 71"/>
              <a:gd name="T50" fmla="*/ 6506474 w 106"/>
              <a:gd name="T51" fmla="*/ 40170815 h 71"/>
              <a:gd name="T52" fmla="*/ 5627118 w 106"/>
              <a:gd name="T53" fmla="*/ 36930974 h 71"/>
              <a:gd name="T54" fmla="*/ 4747763 w 106"/>
              <a:gd name="T55" fmla="*/ 33043164 h 71"/>
              <a:gd name="T56" fmla="*/ 4220234 w 106"/>
              <a:gd name="T57" fmla="*/ 29156159 h 71"/>
              <a:gd name="T58" fmla="*/ 3692705 w 106"/>
              <a:gd name="T59" fmla="*/ 24620381 h 71"/>
              <a:gd name="T60" fmla="*/ 3517001 w 106"/>
              <a:gd name="T61" fmla="*/ 19437439 h 71"/>
              <a:gd name="T62" fmla="*/ 3340879 w 106"/>
              <a:gd name="T63" fmla="*/ 15549630 h 71"/>
              <a:gd name="T64" fmla="*/ 3165175 w 106"/>
              <a:gd name="T65" fmla="*/ 12310593 h 71"/>
              <a:gd name="T66" fmla="*/ 3165175 w 106"/>
              <a:gd name="T67" fmla="*/ 9070751 h 71"/>
              <a:gd name="T68" fmla="*/ 3340879 w 106"/>
              <a:gd name="T69" fmla="*/ 6478878 h 71"/>
              <a:gd name="T70" fmla="*/ 3517001 w 106"/>
              <a:gd name="T71" fmla="*/ 4535778 h 71"/>
              <a:gd name="T72" fmla="*/ 3692705 w 106"/>
              <a:gd name="T73" fmla="*/ 4535778 h 71"/>
              <a:gd name="T74" fmla="*/ 3517001 w 106"/>
              <a:gd name="T75" fmla="*/ 6478878 h 71"/>
              <a:gd name="T76" fmla="*/ 3340879 w 106"/>
              <a:gd name="T77" fmla="*/ 10366688 h 71"/>
              <a:gd name="T78" fmla="*/ 3340879 w 106"/>
              <a:gd name="T79" fmla="*/ 11014656 h 71"/>
              <a:gd name="T80" fmla="*/ 3340879 w 106"/>
              <a:gd name="T81" fmla="*/ 11014656 h 71"/>
              <a:gd name="T82" fmla="*/ 3517001 w 106"/>
              <a:gd name="T83" fmla="*/ 11014656 h 71"/>
              <a:gd name="T84" fmla="*/ 3692705 w 106"/>
              <a:gd name="T85" fmla="*/ 11014656 h 71"/>
              <a:gd name="T86" fmla="*/ 4044531 w 106"/>
              <a:gd name="T87" fmla="*/ 8422783 h 71"/>
              <a:gd name="T88" fmla="*/ 4747763 w 106"/>
              <a:gd name="T89" fmla="*/ 4535778 h 71"/>
              <a:gd name="T90" fmla="*/ 0 w 106"/>
              <a:gd name="T91" fmla="*/ 4535778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9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996657" y="7861144"/>
            <a:ext cx="65087" cy="55563"/>
            <a:chOff x="1654" y="3671"/>
            <a:chExt cx="49" cy="17"/>
          </a:xfrm>
          <a:solidFill>
            <a:srgbClr val="DDC9A3"/>
          </a:solidFill>
        </p:grpSpPr>
        <p:sp>
          <p:nvSpPr>
            <p:cNvPr id="9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3 w 59"/>
                <a:gd name="T1" fmla="*/ 5 h 43"/>
                <a:gd name="T2" fmla="*/ 7 w 59"/>
                <a:gd name="T3" fmla="*/ 2 h 43"/>
                <a:gd name="T4" fmla="*/ 6 w 59"/>
                <a:gd name="T5" fmla="*/ 2 h 43"/>
                <a:gd name="T6" fmla="*/ 6 w 59"/>
                <a:gd name="T7" fmla="*/ 1 h 43"/>
                <a:gd name="T8" fmla="*/ 5 w 59"/>
                <a:gd name="T9" fmla="*/ 1 h 43"/>
                <a:gd name="T10" fmla="*/ 5 w 59"/>
                <a:gd name="T11" fmla="*/ 0 h 43"/>
                <a:gd name="T12" fmla="*/ 5 w 59"/>
                <a:gd name="T13" fmla="*/ 0 h 43"/>
                <a:gd name="T14" fmla="*/ 4 w 59"/>
                <a:gd name="T15" fmla="*/ 0 h 43"/>
                <a:gd name="T16" fmla="*/ 4 w 59"/>
                <a:gd name="T17" fmla="*/ 1 h 43"/>
                <a:gd name="T18" fmla="*/ 3 w 59"/>
                <a:gd name="T19" fmla="*/ 1 h 43"/>
                <a:gd name="T20" fmla="*/ 3 w 59"/>
                <a:gd name="T21" fmla="*/ 1 h 43"/>
                <a:gd name="T22" fmla="*/ 3 w 59"/>
                <a:gd name="T23" fmla="*/ 1 h 43"/>
                <a:gd name="T24" fmla="*/ 2 w 59"/>
                <a:gd name="T25" fmla="*/ 1 h 43"/>
                <a:gd name="T26" fmla="*/ 1 w 59"/>
                <a:gd name="T27" fmla="*/ 2 h 43"/>
                <a:gd name="T28" fmla="*/ 1 w 59"/>
                <a:gd name="T29" fmla="*/ 2 h 43"/>
                <a:gd name="T30" fmla="*/ 0 w 59"/>
                <a:gd name="T31" fmla="*/ 3 h 43"/>
                <a:gd name="T32" fmla="*/ 1 w 59"/>
                <a:gd name="T33" fmla="*/ 3 h 43"/>
                <a:gd name="T34" fmla="*/ 1 w 59"/>
                <a:gd name="T35" fmla="*/ 4 h 43"/>
                <a:gd name="T36" fmla="*/ 2 w 59"/>
                <a:gd name="T37" fmla="*/ 4 h 43"/>
                <a:gd name="T38" fmla="*/ 3 w 59"/>
                <a:gd name="T39" fmla="*/ 5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3 w 67"/>
                <a:gd name="T3" fmla="*/ 0 h 51"/>
                <a:gd name="T4" fmla="*/ 4 w 67"/>
                <a:gd name="T5" fmla="*/ 0 h 51"/>
                <a:gd name="T6" fmla="*/ 5 w 67"/>
                <a:gd name="T7" fmla="*/ 0 h 51"/>
                <a:gd name="T8" fmla="*/ 6 w 67"/>
                <a:gd name="T9" fmla="*/ 0 h 51"/>
                <a:gd name="T10" fmla="*/ 6 w 67"/>
                <a:gd name="T11" fmla="*/ 0 h 51"/>
                <a:gd name="T12" fmla="*/ 7 w 67"/>
                <a:gd name="T13" fmla="*/ 1 h 51"/>
                <a:gd name="T14" fmla="*/ 6 w 67"/>
                <a:gd name="T15" fmla="*/ 1 h 51"/>
                <a:gd name="T16" fmla="*/ 5 w 67"/>
                <a:gd name="T17" fmla="*/ 2 h 51"/>
                <a:gd name="T18" fmla="*/ 5 w 67"/>
                <a:gd name="T19" fmla="*/ 2 h 51"/>
                <a:gd name="T20" fmla="*/ 4 w 67"/>
                <a:gd name="T21" fmla="*/ 3 h 51"/>
                <a:gd name="T22" fmla="*/ 3 w 67"/>
                <a:gd name="T23" fmla="*/ 3 h 51"/>
                <a:gd name="T24" fmla="*/ 2 w 67"/>
                <a:gd name="T25" fmla="*/ 3 h 51"/>
                <a:gd name="T26" fmla="*/ 3 w 67"/>
                <a:gd name="T27" fmla="*/ 3 h 51"/>
                <a:gd name="T28" fmla="*/ 4 w 67"/>
                <a:gd name="T29" fmla="*/ 3 h 51"/>
                <a:gd name="T30" fmla="*/ 3 w 67"/>
                <a:gd name="T31" fmla="*/ 4 h 51"/>
                <a:gd name="T32" fmla="*/ 3 w 67"/>
                <a:gd name="T33" fmla="*/ 4 h 51"/>
                <a:gd name="T34" fmla="*/ 2 w 67"/>
                <a:gd name="T35" fmla="*/ 5 h 51"/>
                <a:gd name="T36" fmla="*/ 2 w 67"/>
                <a:gd name="T37" fmla="*/ 5 h 51"/>
                <a:gd name="T38" fmla="*/ 1 w 67"/>
                <a:gd name="T39" fmla="*/ 5 h 51"/>
                <a:gd name="T40" fmla="*/ 0 w 67"/>
                <a:gd name="T41" fmla="*/ 6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644232" y="5656107"/>
            <a:ext cx="31750" cy="58737"/>
          </a:xfrm>
          <a:custGeom>
            <a:avLst/>
            <a:gdLst>
              <a:gd name="T0" fmla="*/ 0 w 80"/>
              <a:gd name="T1" fmla="*/ 44766232 h 34"/>
              <a:gd name="T2" fmla="*/ 157559 w 80"/>
              <a:gd name="T3" fmla="*/ 56705391 h 34"/>
              <a:gd name="T4" fmla="*/ 315119 w 80"/>
              <a:gd name="T5" fmla="*/ 62674107 h 34"/>
              <a:gd name="T6" fmla="*/ 630238 w 80"/>
              <a:gd name="T7" fmla="*/ 71626316 h 34"/>
              <a:gd name="T8" fmla="*/ 1102519 w 80"/>
              <a:gd name="T9" fmla="*/ 77596760 h 34"/>
              <a:gd name="T10" fmla="*/ 2047478 w 80"/>
              <a:gd name="T11" fmla="*/ 86548970 h 34"/>
              <a:gd name="T12" fmla="*/ 3465116 w 80"/>
              <a:gd name="T13" fmla="*/ 92517685 h 34"/>
              <a:gd name="T14" fmla="*/ 6300391 w 80"/>
              <a:gd name="T15" fmla="*/ 98486401 h 34"/>
              <a:gd name="T16" fmla="*/ 8505428 w 80"/>
              <a:gd name="T17" fmla="*/ 101471623 h 34"/>
              <a:gd name="T18" fmla="*/ 9135666 w 80"/>
              <a:gd name="T19" fmla="*/ 98486401 h 34"/>
              <a:gd name="T20" fmla="*/ 9765506 w 80"/>
              <a:gd name="T21" fmla="*/ 95502907 h 34"/>
              <a:gd name="T22" fmla="*/ 10238184 w 80"/>
              <a:gd name="T23" fmla="*/ 86548970 h 34"/>
              <a:gd name="T24" fmla="*/ 10553303 w 80"/>
              <a:gd name="T25" fmla="*/ 80580254 h 34"/>
              <a:gd name="T26" fmla="*/ 11498263 w 80"/>
              <a:gd name="T27" fmla="*/ 62674107 h 34"/>
              <a:gd name="T28" fmla="*/ 12600781 w 80"/>
              <a:gd name="T29" fmla="*/ 44766232 h 34"/>
              <a:gd name="T30" fmla="*/ 11813381 w 80"/>
              <a:gd name="T31" fmla="*/ 29845306 h 34"/>
              <a:gd name="T32" fmla="*/ 11025584 w 80"/>
              <a:gd name="T33" fmla="*/ 20891369 h 34"/>
              <a:gd name="T34" fmla="*/ 10238184 w 80"/>
              <a:gd name="T35" fmla="*/ 11937431 h 34"/>
              <a:gd name="T36" fmla="*/ 9450784 w 80"/>
              <a:gd name="T37" fmla="*/ 5968716 h 34"/>
              <a:gd name="T38" fmla="*/ 8662988 w 80"/>
              <a:gd name="T39" fmla="*/ 0 h 34"/>
              <a:gd name="T40" fmla="*/ 8033147 w 80"/>
              <a:gd name="T41" fmla="*/ 0 h 34"/>
              <a:gd name="T42" fmla="*/ 7087791 w 80"/>
              <a:gd name="T43" fmla="*/ 2985222 h 34"/>
              <a:gd name="T44" fmla="*/ 6457950 w 80"/>
              <a:gd name="T45" fmla="*/ 5968716 h 34"/>
              <a:gd name="T46" fmla="*/ 5355431 w 80"/>
              <a:gd name="T47" fmla="*/ 5968716 h 34"/>
              <a:gd name="T48" fmla="*/ 3307556 w 80"/>
              <a:gd name="T49" fmla="*/ 5968716 h 34"/>
              <a:gd name="T50" fmla="*/ 2047478 w 80"/>
              <a:gd name="T51" fmla="*/ 8953937 h 34"/>
              <a:gd name="T52" fmla="*/ 1102519 w 80"/>
              <a:gd name="T53" fmla="*/ 14922653 h 34"/>
              <a:gd name="T54" fmla="*/ 630238 w 80"/>
              <a:gd name="T55" fmla="*/ 20891369 h 34"/>
              <a:gd name="T56" fmla="*/ 315119 w 80"/>
              <a:gd name="T57" fmla="*/ 26860085 h 34"/>
              <a:gd name="T58" fmla="*/ 157559 w 80"/>
              <a:gd name="T59" fmla="*/ 32828800 h 34"/>
              <a:gd name="T60" fmla="*/ 0 w 80"/>
              <a:gd name="T61" fmla="*/ 44766232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699794" y="5662457"/>
            <a:ext cx="1588" cy="58737"/>
          </a:xfrm>
          <a:custGeom>
            <a:avLst/>
            <a:gdLst>
              <a:gd name="T0" fmla="*/ 0 w 7"/>
              <a:gd name="T1" fmla="*/ 0 h 13"/>
              <a:gd name="T2" fmla="*/ 360249 w 7"/>
              <a:gd name="T3" fmla="*/ 265387321 h 13"/>
              <a:gd name="T4" fmla="*/ 360249 w 7"/>
              <a:gd name="T5" fmla="*/ 142902603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712494" y="5664044"/>
            <a:ext cx="6350" cy="58738"/>
          </a:xfrm>
          <a:custGeom>
            <a:avLst/>
            <a:gdLst>
              <a:gd name="T0" fmla="*/ 0 w 20"/>
              <a:gd name="T1" fmla="*/ 0 h 6"/>
              <a:gd name="T2" fmla="*/ 705803 w 20"/>
              <a:gd name="T3" fmla="*/ 287512720 h 6"/>
              <a:gd name="T4" fmla="*/ 2016125 w 20"/>
              <a:gd name="T5" fmla="*/ 575025441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726782" y="5654519"/>
            <a:ext cx="7937" cy="57150"/>
          </a:xfrm>
          <a:custGeom>
            <a:avLst/>
            <a:gdLst>
              <a:gd name="T0" fmla="*/ 0 w 14"/>
              <a:gd name="T1" fmla="*/ 272176875 h 12"/>
              <a:gd name="T2" fmla="*/ 4499712 w 14"/>
              <a:gd name="T3" fmla="*/ 0 h 12"/>
              <a:gd name="T4" fmla="*/ 0 w 14"/>
              <a:gd name="T5" fmla="*/ 272176875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706144" y="5646582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81635524 h 7"/>
              <a:gd name="T4" fmla="*/ 338741 w 27"/>
              <a:gd name="T5" fmla="*/ 422453286 h 7"/>
              <a:gd name="T6" fmla="*/ 1185798 w 27"/>
              <a:gd name="T7" fmla="*/ 492862167 h 7"/>
              <a:gd name="T8" fmla="*/ 1694115 w 27"/>
              <a:gd name="T9" fmla="*/ 492862167 h 7"/>
              <a:gd name="T10" fmla="*/ 2541173 w 27"/>
              <a:gd name="T11" fmla="*/ 422453286 h 7"/>
              <a:gd name="T12" fmla="*/ 3218654 w 27"/>
              <a:gd name="T13" fmla="*/ 281635524 h 7"/>
              <a:gd name="T14" fmla="*/ 3896547 w 27"/>
              <a:gd name="T15" fmla="*/ 140817762 h 7"/>
              <a:gd name="T16" fmla="*/ 4574028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755357" y="5675157"/>
            <a:ext cx="14287" cy="60325"/>
          </a:xfrm>
          <a:custGeom>
            <a:avLst/>
            <a:gdLst>
              <a:gd name="T0" fmla="*/ 0 w 27"/>
              <a:gd name="T1" fmla="*/ 0 h 6"/>
              <a:gd name="T2" fmla="*/ 3080171 w 27"/>
              <a:gd name="T3" fmla="*/ 303263829 h 6"/>
              <a:gd name="T4" fmla="*/ 7559940 w 27"/>
              <a:gd name="T5" fmla="*/ 606517604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763294" y="5671982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763294" y="5697382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763294" y="5692619"/>
            <a:ext cx="11113" cy="58738"/>
          </a:xfrm>
          <a:custGeom>
            <a:avLst/>
            <a:gdLst>
              <a:gd name="T0" fmla="*/ 0 w 20"/>
              <a:gd name="T1" fmla="*/ 143756360 h 24"/>
              <a:gd name="T2" fmla="*/ 617327 w 20"/>
              <a:gd name="T3" fmla="*/ 143756360 h 24"/>
              <a:gd name="T4" fmla="*/ 1852537 w 20"/>
              <a:gd name="T5" fmla="*/ 131776256 h 24"/>
              <a:gd name="T6" fmla="*/ 2778806 w 20"/>
              <a:gd name="T7" fmla="*/ 119796151 h 24"/>
              <a:gd name="T8" fmla="*/ 3705074 w 20"/>
              <a:gd name="T9" fmla="*/ 95838389 h 24"/>
              <a:gd name="T10" fmla="*/ 4631343 w 20"/>
              <a:gd name="T11" fmla="*/ 77867009 h 24"/>
              <a:gd name="T12" fmla="*/ 5557611 w 20"/>
              <a:gd name="T13" fmla="*/ 53909247 h 24"/>
              <a:gd name="T14" fmla="*/ 5865997 w 20"/>
              <a:gd name="T15" fmla="*/ 23960209 h 24"/>
              <a:gd name="T16" fmla="*/ 6174938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769644" y="5721194"/>
            <a:ext cx="17463" cy="55563"/>
          </a:xfrm>
          <a:custGeom>
            <a:avLst/>
            <a:gdLst>
              <a:gd name="T0" fmla="*/ 3640242 w 33"/>
              <a:gd name="T1" fmla="*/ 34577966 h 25"/>
              <a:gd name="T2" fmla="*/ 0 w 33"/>
              <a:gd name="T3" fmla="*/ 93852575 h 25"/>
              <a:gd name="T4" fmla="*/ 2800430 w 33"/>
              <a:gd name="T5" fmla="*/ 98791014 h 25"/>
              <a:gd name="T6" fmla="*/ 5320394 w 33"/>
              <a:gd name="T7" fmla="*/ 108670115 h 25"/>
              <a:gd name="T8" fmla="*/ 7560950 w 33"/>
              <a:gd name="T9" fmla="*/ 123489879 h 25"/>
              <a:gd name="T10" fmla="*/ 9241102 w 33"/>
              <a:gd name="T11" fmla="*/ 123489879 h 25"/>
              <a:gd name="T12" fmla="*/ 9241102 w 33"/>
              <a:gd name="T13" fmla="*/ 0 h 25"/>
              <a:gd name="T14" fmla="*/ 7560950 w 33"/>
              <a:gd name="T15" fmla="*/ 0 h 25"/>
              <a:gd name="T16" fmla="*/ 3640242 w 33"/>
              <a:gd name="T17" fmla="*/ 34577966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775994" y="5768819"/>
            <a:ext cx="15875" cy="57150"/>
          </a:xfrm>
          <a:custGeom>
            <a:avLst/>
            <a:gdLst>
              <a:gd name="T0" fmla="*/ 0 w 40"/>
              <a:gd name="T1" fmla="*/ 0 h 18"/>
              <a:gd name="T2" fmla="*/ 472678 w 40"/>
              <a:gd name="T3" fmla="*/ 60483750 h 18"/>
              <a:gd name="T4" fmla="*/ 944959 w 40"/>
              <a:gd name="T5" fmla="*/ 110886875 h 18"/>
              <a:gd name="T6" fmla="*/ 1575197 w 40"/>
              <a:gd name="T7" fmla="*/ 141128750 h 18"/>
              <a:gd name="T8" fmla="*/ 2362597 w 40"/>
              <a:gd name="T9" fmla="*/ 161290000 h 18"/>
              <a:gd name="T10" fmla="*/ 4252913 w 40"/>
              <a:gd name="T11" fmla="*/ 181451250 h 18"/>
              <a:gd name="T12" fmla="*/ 6300391 w 40"/>
              <a:gd name="T13" fmla="*/ 181451250 h 18"/>
              <a:gd name="T14" fmla="*/ 6300391 w 40"/>
              <a:gd name="T15" fmla="*/ 0 h 18"/>
              <a:gd name="T16" fmla="*/ 4725194 w 40"/>
              <a:gd name="T17" fmla="*/ 0 h 18"/>
              <a:gd name="T18" fmla="*/ 3150394 w 40"/>
              <a:gd name="T19" fmla="*/ 0 h 18"/>
              <a:gd name="T20" fmla="*/ 157519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785519" y="5794219"/>
            <a:ext cx="3175" cy="57150"/>
          </a:xfrm>
          <a:custGeom>
            <a:avLst/>
            <a:gdLst>
              <a:gd name="T0" fmla="*/ 333375 w 11"/>
              <a:gd name="T1" fmla="*/ 102066328 h 32"/>
              <a:gd name="T2" fmla="*/ 499918 w 11"/>
              <a:gd name="T3" fmla="*/ 89307591 h 32"/>
              <a:gd name="T4" fmla="*/ 666461 w 11"/>
              <a:gd name="T5" fmla="*/ 79738538 h 32"/>
              <a:gd name="T6" fmla="*/ 749877 w 11"/>
              <a:gd name="T7" fmla="*/ 70171270 h 32"/>
              <a:gd name="T8" fmla="*/ 833005 w 11"/>
              <a:gd name="T9" fmla="*/ 57412533 h 32"/>
              <a:gd name="T10" fmla="*/ 916420 w 11"/>
              <a:gd name="T11" fmla="*/ 28705373 h 32"/>
              <a:gd name="T12" fmla="*/ 916420 w 11"/>
              <a:gd name="T13" fmla="*/ 0 h 32"/>
              <a:gd name="T14" fmla="*/ 499918 w 11"/>
              <a:gd name="T15" fmla="*/ 9569053 h 32"/>
              <a:gd name="T16" fmla="*/ 249959 w 11"/>
              <a:gd name="T17" fmla="*/ 22327791 h 32"/>
              <a:gd name="T18" fmla="*/ 83416 w 11"/>
              <a:gd name="T19" fmla="*/ 35084742 h 32"/>
              <a:gd name="T20" fmla="*/ 0 w 11"/>
              <a:gd name="T21" fmla="*/ 51033164 h 32"/>
              <a:gd name="T22" fmla="*/ 0 w 11"/>
              <a:gd name="T23" fmla="*/ 63791902 h 32"/>
              <a:gd name="T24" fmla="*/ 83416 w 11"/>
              <a:gd name="T25" fmla="*/ 76550639 h 32"/>
              <a:gd name="T26" fmla="*/ 166543 w 11"/>
              <a:gd name="T27" fmla="*/ 89307591 h 32"/>
              <a:gd name="T28" fmla="*/ 333375 w 11"/>
              <a:gd name="T29" fmla="*/ 102066328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807744" y="5824382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128630660 h 24"/>
              <a:gd name="T4" fmla="*/ 180125 w 14"/>
              <a:gd name="T5" fmla="*/ 64315330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769644" y="5837082"/>
            <a:ext cx="15875" cy="58737"/>
          </a:xfrm>
          <a:custGeom>
            <a:avLst/>
            <a:gdLst>
              <a:gd name="T0" fmla="*/ 0 w 27"/>
              <a:gd name="T1" fmla="*/ 127779080 h 18"/>
              <a:gd name="T2" fmla="*/ 2420056 w 27"/>
              <a:gd name="T3" fmla="*/ 159725482 h 18"/>
              <a:gd name="T4" fmla="*/ 4494389 w 27"/>
              <a:gd name="T5" fmla="*/ 191668621 h 18"/>
              <a:gd name="T6" fmla="*/ 7605301 w 27"/>
              <a:gd name="T7" fmla="*/ 74537253 h 18"/>
              <a:gd name="T8" fmla="*/ 9333912 w 27"/>
              <a:gd name="T9" fmla="*/ 0 h 18"/>
              <a:gd name="T10" fmla="*/ 7605301 w 27"/>
              <a:gd name="T11" fmla="*/ 0 h 18"/>
              <a:gd name="T12" fmla="*/ 6222412 w 27"/>
              <a:gd name="T13" fmla="*/ 10647713 h 18"/>
              <a:gd name="T14" fmla="*/ 4494389 w 27"/>
              <a:gd name="T15" fmla="*/ 21295426 h 18"/>
              <a:gd name="T16" fmla="*/ 3457222 w 27"/>
              <a:gd name="T17" fmla="*/ 42594115 h 18"/>
              <a:gd name="T18" fmla="*/ 1728611 w 27"/>
              <a:gd name="T19" fmla="*/ 85184966 h 18"/>
              <a:gd name="T20" fmla="*/ 0 w 27"/>
              <a:gd name="T21" fmla="*/ 127779080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755357" y="5902169"/>
            <a:ext cx="23812" cy="57150"/>
          </a:xfrm>
          <a:custGeom>
            <a:avLst/>
            <a:gdLst>
              <a:gd name="T0" fmla="*/ 0 w 47"/>
              <a:gd name="T1" fmla="*/ 48971718 h 49"/>
              <a:gd name="T2" fmla="*/ 256866 w 47"/>
              <a:gd name="T3" fmla="*/ 53052695 h 49"/>
              <a:gd name="T4" fmla="*/ 513225 w 47"/>
              <a:gd name="T5" fmla="*/ 55772568 h 49"/>
              <a:gd name="T6" fmla="*/ 1026956 w 47"/>
              <a:gd name="T7" fmla="*/ 58493608 h 49"/>
              <a:gd name="T8" fmla="*/ 1540180 w 47"/>
              <a:gd name="T9" fmla="*/ 61214648 h 49"/>
              <a:gd name="T10" fmla="*/ 3080361 w 47"/>
              <a:gd name="T11" fmla="*/ 65295624 h 49"/>
              <a:gd name="T12" fmla="*/ 3593585 w 47"/>
              <a:gd name="T13" fmla="*/ 66655561 h 49"/>
              <a:gd name="T14" fmla="*/ 4620035 w 47"/>
              <a:gd name="T15" fmla="*/ 66655561 h 49"/>
              <a:gd name="T16" fmla="*/ 6160215 w 47"/>
              <a:gd name="T17" fmla="*/ 62574585 h 49"/>
              <a:gd name="T18" fmla="*/ 7444037 w 47"/>
              <a:gd name="T19" fmla="*/ 57133671 h 49"/>
              <a:gd name="T20" fmla="*/ 8983710 w 47"/>
              <a:gd name="T21" fmla="*/ 53052695 h 49"/>
              <a:gd name="T22" fmla="*/ 10010666 w 47"/>
              <a:gd name="T23" fmla="*/ 47610615 h 49"/>
              <a:gd name="T24" fmla="*/ 11293981 w 47"/>
              <a:gd name="T25" fmla="*/ 42169702 h 49"/>
              <a:gd name="T26" fmla="*/ 11807206 w 47"/>
              <a:gd name="T27" fmla="*/ 36728789 h 49"/>
              <a:gd name="T28" fmla="*/ 12064071 w 47"/>
              <a:gd name="T29" fmla="*/ 32647812 h 49"/>
              <a:gd name="T30" fmla="*/ 12064071 w 47"/>
              <a:gd name="T31" fmla="*/ 16323906 h 49"/>
              <a:gd name="T32" fmla="*/ 12064071 w 47"/>
              <a:gd name="T33" fmla="*/ 0 h 49"/>
              <a:gd name="T34" fmla="*/ 6930305 w 47"/>
              <a:gd name="T35" fmla="*/ 0 h 49"/>
              <a:gd name="T36" fmla="*/ 4363676 w 47"/>
              <a:gd name="T37" fmla="*/ 10882993 h 49"/>
              <a:gd name="T38" fmla="*/ 2310271 w 47"/>
              <a:gd name="T39" fmla="*/ 21764819 h 49"/>
              <a:gd name="T40" fmla="*/ 1283315 w 47"/>
              <a:gd name="T41" fmla="*/ 27206899 h 49"/>
              <a:gd name="T42" fmla="*/ 513225 w 47"/>
              <a:gd name="T43" fmla="*/ 34007749 h 49"/>
              <a:gd name="T44" fmla="*/ 256866 w 47"/>
              <a:gd name="T45" fmla="*/ 40809765 h 49"/>
              <a:gd name="T46" fmla="*/ 0 w 47"/>
              <a:gd name="T47" fmla="*/ 4897171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774407" y="5878357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161290000 h 9"/>
              <a:gd name="T4" fmla="*/ 715596 w 26"/>
              <a:gd name="T5" fmla="*/ 282257500 h 9"/>
              <a:gd name="T6" fmla="*/ 1431681 w 26"/>
              <a:gd name="T7" fmla="*/ 322580000 h 9"/>
              <a:gd name="T8" fmla="*/ 2624504 w 26"/>
              <a:gd name="T9" fmla="*/ 362902500 h 9"/>
              <a:gd name="T10" fmla="*/ 3578958 w 26"/>
              <a:gd name="T11" fmla="*/ 322580000 h 9"/>
              <a:gd name="T12" fmla="*/ 4771781 w 26"/>
              <a:gd name="T13" fmla="*/ 282257500 h 9"/>
              <a:gd name="T14" fmla="*/ 5487865 w 26"/>
              <a:gd name="T15" fmla="*/ 161290000 h 9"/>
              <a:gd name="T16" fmla="*/ 6203462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256882" y="5549744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1451250 h 18"/>
              <a:gd name="T4" fmla="*/ 994019 w 39"/>
              <a:gd name="T5" fmla="*/ 181451250 h 18"/>
              <a:gd name="T6" fmla="*/ 2154115 w 39"/>
              <a:gd name="T7" fmla="*/ 181451250 h 18"/>
              <a:gd name="T8" fmla="*/ 3810814 w 39"/>
              <a:gd name="T9" fmla="*/ 171370625 h 18"/>
              <a:gd name="T10" fmla="*/ 4970910 w 39"/>
              <a:gd name="T11" fmla="*/ 141128750 h 18"/>
              <a:gd name="T12" fmla="*/ 5633590 w 39"/>
              <a:gd name="T13" fmla="*/ 120967500 h 18"/>
              <a:gd name="T14" fmla="*/ 6130599 w 39"/>
              <a:gd name="T15" fmla="*/ 100806250 h 18"/>
              <a:gd name="T16" fmla="*/ 6296269 w 39"/>
              <a:gd name="T17" fmla="*/ 80645000 h 18"/>
              <a:gd name="T18" fmla="*/ 6461939 w 39"/>
              <a:gd name="T19" fmla="*/ 60483750 h 18"/>
              <a:gd name="T20" fmla="*/ 4804833 w 39"/>
              <a:gd name="T21" fmla="*/ 50403125 h 18"/>
              <a:gd name="T22" fmla="*/ 3148135 w 39"/>
              <a:gd name="T23" fmla="*/ 30241875 h 18"/>
              <a:gd name="T24" fmla="*/ 1657106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1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382294" y="5383057"/>
            <a:ext cx="131763" cy="195262"/>
            <a:chOff x="1199" y="2121"/>
            <a:chExt cx="97" cy="123"/>
          </a:xfrm>
          <a:solidFill>
            <a:srgbClr val="DDC9A3"/>
          </a:solidFill>
        </p:grpSpPr>
        <p:sp>
          <p:nvSpPr>
            <p:cNvPr id="11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3 h 25"/>
                <a:gd name="T2" fmla="*/ 1 w 52"/>
                <a:gd name="T3" fmla="*/ 3 h 25"/>
                <a:gd name="T4" fmla="*/ 2 w 52"/>
                <a:gd name="T5" fmla="*/ 3 h 25"/>
                <a:gd name="T6" fmla="*/ 2 w 52"/>
                <a:gd name="T7" fmla="*/ 2 h 25"/>
                <a:gd name="T8" fmla="*/ 3 w 52"/>
                <a:gd name="T9" fmla="*/ 2 h 25"/>
                <a:gd name="T10" fmla="*/ 4 w 52"/>
                <a:gd name="T11" fmla="*/ 2 h 25"/>
                <a:gd name="T12" fmla="*/ 4 w 52"/>
                <a:gd name="T13" fmla="*/ 1 h 25"/>
                <a:gd name="T14" fmla="*/ 5 w 52"/>
                <a:gd name="T15" fmla="*/ 1 h 25"/>
                <a:gd name="T16" fmla="*/ 5 w 52"/>
                <a:gd name="T17" fmla="*/ 0 h 25"/>
                <a:gd name="T18" fmla="*/ 4 w 52"/>
                <a:gd name="T19" fmla="*/ 0 h 25"/>
                <a:gd name="T20" fmla="*/ 3 w 52"/>
                <a:gd name="T21" fmla="*/ 0 h 25"/>
                <a:gd name="T22" fmla="*/ 2 w 52"/>
                <a:gd name="T23" fmla="*/ 0 h 25"/>
                <a:gd name="T24" fmla="*/ 2 w 52"/>
                <a:gd name="T25" fmla="*/ 0 h 25"/>
                <a:gd name="T26" fmla="*/ 1 w 52"/>
                <a:gd name="T27" fmla="*/ 1 h 25"/>
                <a:gd name="T28" fmla="*/ 1 w 52"/>
                <a:gd name="T29" fmla="*/ 1 h 25"/>
                <a:gd name="T30" fmla="*/ 0 w 52"/>
                <a:gd name="T31" fmla="*/ 2 h 25"/>
                <a:gd name="T32" fmla="*/ 0 w 52"/>
                <a:gd name="T33" fmla="*/ 3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1 h 13"/>
                <a:gd name="T4" fmla="*/ 0 w 33"/>
                <a:gd name="T5" fmla="*/ 1 h 13"/>
                <a:gd name="T6" fmla="*/ 1 w 33"/>
                <a:gd name="T7" fmla="*/ 1 h 13"/>
                <a:gd name="T8" fmla="*/ 2 w 33"/>
                <a:gd name="T9" fmla="*/ 1 h 13"/>
                <a:gd name="T10" fmla="*/ 3 w 33"/>
                <a:gd name="T11" fmla="*/ 1 h 13"/>
                <a:gd name="T12" fmla="*/ 4 w 33"/>
                <a:gd name="T13" fmla="*/ 1 h 13"/>
                <a:gd name="T14" fmla="*/ 3 w 33"/>
                <a:gd name="T15" fmla="*/ 0 h 13"/>
                <a:gd name="T16" fmla="*/ 2 w 33"/>
                <a:gd name="T17" fmla="*/ 0 h 13"/>
                <a:gd name="T18" fmla="*/ 1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 w 67"/>
                <a:gd name="T1" fmla="*/ 2 h 86"/>
                <a:gd name="T2" fmla="*/ 0 w 67"/>
                <a:gd name="T3" fmla="*/ 0 h 86"/>
                <a:gd name="T4" fmla="*/ 2 w 67"/>
                <a:gd name="T5" fmla="*/ 0 h 86"/>
                <a:gd name="T6" fmla="*/ 3 w 67"/>
                <a:gd name="T7" fmla="*/ 0 h 86"/>
                <a:gd name="T8" fmla="*/ 3 w 67"/>
                <a:gd name="T9" fmla="*/ 1 h 86"/>
                <a:gd name="T10" fmla="*/ 3 w 67"/>
                <a:gd name="T11" fmla="*/ 1 h 86"/>
                <a:gd name="T12" fmla="*/ 4 w 67"/>
                <a:gd name="T13" fmla="*/ 2 h 86"/>
                <a:gd name="T14" fmla="*/ 4 w 67"/>
                <a:gd name="T15" fmla="*/ 2 h 86"/>
                <a:gd name="T16" fmla="*/ 5 w 67"/>
                <a:gd name="T17" fmla="*/ 2 h 86"/>
                <a:gd name="T18" fmla="*/ 5 w 67"/>
                <a:gd name="T19" fmla="*/ 3 h 86"/>
                <a:gd name="T20" fmla="*/ 6 w 67"/>
                <a:gd name="T21" fmla="*/ 4 h 86"/>
                <a:gd name="T22" fmla="*/ 6 w 67"/>
                <a:gd name="T23" fmla="*/ 5 h 86"/>
                <a:gd name="T24" fmla="*/ 6 w 67"/>
                <a:gd name="T25" fmla="*/ 5 h 86"/>
                <a:gd name="T26" fmla="*/ 6 w 67"/>
                <a:gd name="T27" fmla="*/ 6 h 86"/>
                <a:gd name="T28" fmla="*/ 6 w 67"/>
                <a:gd name="T29" fmla="*/ 7 h 86"/>
                <a:gd name="T30" fmla="*/ 6 w 67"/>
                <a:gd name="T31" fmla="*/ 8 h 86"/>
                <a:gd name="T32" fmla="*/ 5 w 67"/>
                <a:gd name="T33" fmla="*/ 9 h 86"/>
                <a:gd name="T34" fmla="*/ 5 w 67"/>
                <a:gd name="T35" fmla="*/ 7 h 86"/>
                <a:gd name="T36" fmla="*/ 4 w 67"/>
                <a:gd name="T37" fmla="*/ 6 h 86"/>
                <a:gd name="T38" fmla="*/ 4 w 67"/>
                <a:gd name="T39" fmla="*/ 5 h 86"/>
                <a:gd name="T40" fmla="*/ 4 w 67"/>
                <a:gd name="T41" fmla="*/ 4 h 86"/>
                <a:gd name="T42" fmla="*/ 4 w 67"/>
                <a:gd name="T43" fmla="*/ 4 h 86"/>
                <a:gd name="T44" fmla="*/ 5 w 67"/>
                <a:gd name="T45" fmla="*/ 3 h 86"/>
                <a:gd name="T46" fmla="*/ 4 w 67"/>
                <a:gd name="T47" fmla="*/ 3 h 86"/>
                <a:gd name="T48" fmla="*/ 3 w 67"/>
                <a:gd name="T49" fmla="*/ 3 h 86"/>
                <a:gd name="T50" fmla="*/ 3 w 67"/>
                <a:gd name="T51" fmla="*/ 3 h 86"/>
                <a:gd name="T52" fmla="*/ 2 w 67"/>
                <a:gd name="T53" fmla="*/ 3 h 86"/>
                <a:gd name="T54" fmla="*/ 2 w 67"/>
                <a:gd name="T55" fmla="*/ 2 h 86"/>
                <a:gd name="T56" fmla="*/ 2 w 67"/>
                <a:gd name="T57" fmla="*/ 2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3 w 49"/>
                <a:gd name="T1" fmla="*/ 1 h 86"/>
                <a:gd name="T2" fmla="*/ 2 w 49"/>
                <a:gd name="T3" fmla="*/ 1 h 86"/>
                <a:gd name="T4" fmla="*/ 2 w 49"/>
                <a:gd name="T5" fmla="*/ 0 h 86"/>
                <a:gd name="T6" fmla="*/ 1 w 49"/>
                <a:gd name="T7" fmla="*/ 1 h 86"/>
                <a:gd name="T8" fmla="*/ 1 w 49"/>
                <a:gd name="T9" fmla="*/ 1 h 86"/>
                <a:gd name="T10" fmla="*/ 0 w 49"/>
                <a:gd name="T11" fmla="*/ 2 h 86"/>
                <a:gd name="T12" fmla="*/ 0 w 49"/>
                <a:gd name="T13" fmla="*/ 3 h 86"/>
                <a:gd name="T14" fmla="*/ 0 w 49"/>
                <a:gd name="T15" fmla="*/ 4 h 86"/>
                <a:gd name="T16" fmla="*/ 0 w 49"/>
                <a:gd name="T17" fmla="*/ 5 h 86"/>
                <a:gd name="T18" fmla="*/ 1 w 49"/>
                <a:gd name="T19" fmla="*/ 5 h 86"/>
                <a:gd name="T20" fmla="*/ 1 w 49"/>
                <a:gd name="T21" fmla="*/ 6 h 86"/>
                <a:gd name="T22" fmla="*/ 1 w 49"/>
                <a:gd name="T23" fmla="*/ 7 h 86"/>
                <a:gd name="T24" fmla="*/ 2 w 49"/>
                <a:gd name="T25" fmla="*/ 8 h 86"/>
                <a:gd name="T26" fmla="*/ 2 w 49"/>
                <a:gd name="T27" fmla="*/ 8 h 86"/>
                <a:gd name="T28" fmla="*/ 3 w 49"/>
                <a:gd name="T29" fmla="*/ 9 h 86"/>
                <a:gd name="T30" fmla="*/ 3 w 49"/>
                <a:gd name="T31" fmla="*/ 8 h 86"/>
                <a:gd name="T32" fmla="*/ 4 w 49"/>
                <a:gd name="T33" fmla="*/ 7 h 86"/>
                <a:gd name="T34" fmla="*/ 5 w 49"/>
                <a:gd name="T35" fmla="*/ 6 h 86"/>
                <a:gd name="T36" fmla="*/ 5 w 49"/>
                <a:gd name="T37" fmla="*/ 5 h 86"/>
                <a:gd name="T38" fmla="*/ 5 w 49"/>
                <a:gd name="T39" fmla="*/ 4 h 86"/>
                <a:gd name="T40" fmla="*/ 5 w 49"/>
                <a:gd name="T41" fmla="*/ 4 h 86"/>
                <a:gd name="T42" fmla="*/ 5 w 49"/>
                <a:gd name="T43" fmla="*/ 3 h 86"/>
                <a:gd name="T44" fmla="*/ 5 w 49"/>
                <a:gd name="T45" fmla="*/ 2 h 86"/>
                <a:gd name="T46" fmla="*/ 5 w 49"/>
                <a:gd name="T47" fmla="*/ 2 h 86"/>
                <a:gd name="T48" fmla="*/ 4 w 49"/>
                <a:gd name="T49" fmla="*/ 2 h 86"/>
                <a:gd name="T50" fmla="*/ 4 w 49"/>
                <a:gd name="T51" fmla="*/ 1 h 86"/>
                <a:gd name="T52" fmla="*/ 3 w 49"/>
                <a:gd name="T53" fmla="*/ 1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 h 12"/>
                <a:gd name="T2" fmla="*/ 1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1 h 12"/>
                <a:gd name="T12" fmla="*/ 0 w 6"/>
                <a:gd name="T13" fmla="*/ 1 h 12"/>
                <a:gd name="T14" fmla="*/ 0 w 6"/>
                <a:gd name="T15" fmla="*/ 1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 w 39"/>
                <a:gd name="T3" fmla="*/ 1 h 48"/>
                <a:gd name="T4" fmla="*/ 2 w 39"/>
                <a:gd name="T5" fmla="*/ 2 h 48"/>
                <a:gd name="T6" fmla="*/ 4 w 39"/>
                <a:gd name="T7" fmla="*/ 3 h 48"/>
                <a:gd name="T8" fmla="*/ 4 w 39"/>
                <a:gd name="T9" fmla="*/ 3 h 48"/>
                <a:gd name="T10" fmla="*/ 4 w 39"/>
                <a:gd name="T11" fmla="*/ 4 h 48"/>
                <a:gd name="T12" fmla="*/ 4 w 39"/>
                <a:gd name="T13" fmla="*/ 5 h 48"/>
                <a:gd name="T14" fmla="*/ 2 w 39"/>
                <a:gd name="T15" fmla="*/ 3 h 48"/>
                <a:gd name="T16" fmla="*/ 1 w 39"/>
                <a:gd name="T17" fmla="*/ 3 h 48"/>
                <a:gd name="T18" fmla="*/ 0 w 39"/>
                <a:gd name="T19" fmla="*/ 2 h 48"/>
                <a:gd name="T20" fmla="*/ 0 w 39"/>
                <a:gd name="T21" fmla="*/ 2 h 48"/>
                <a:gd name="T22" fmla="*/ 0 w 39"/>
                <a:gd name="T23" fmla="*/ 1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1 w 16"/>
                <a:gd name="T1" fmla="*/ 0 h 43"/>
                <a:gd name="T2" fmla="*/ 2 w 16"/>
                <a:gd name="T3" fmla="*/ 1 h 43"/>
                <a:gd name="T4" fmla="*/ 2 w 16"/>
                <a:gd name="T5" fmla="*/ 2 h 43"/>
                <a:gd name="T6" fmla="*/ 2 w 16"/>
                <a:gd name="T7" fmla="*/ 2 h 43"/>
                <a:gd name="T8" fmla="*/ 2 w 16"/>
                <a:gd name="T9" fmla="*/ 3 h 43"/>
                <a:gd name="T10" fmla="*/ 2 w 16"/>
                <a:gd name="T11" fmla="*/ 3 h 43"/>
                <a:gd name="T12" fmla="*/ 2 w 16"/>
                <a:gd name="T13" fmla="*/ 4 h 43"/>
                <a:gd name="T14" fmla="*/ 1 w 16"/>
                <a:gd name="T15" fmla="*/ 4 h 43"/>
                <a:gd name="T16" fmla="*/ 0 w 16"/>
                <a:gd name="T17" fmla="*/ 5 h 43"/>
                <a:gd name="T18" fmla="*/ 0 w 16"/>
                <a:gd name="T19" fmla="*/ 3 h 43"/>
                <a:gd name="T20" fmla="*/ 1 w 16"/>
                <a:gd name="T21" fmla="*/ 2 h 43"/>
                <a:gd name="T22" fmla="*/ 1 w 16"/>
                <a:gd name="T23" fmla="*/ 1 h 43"/>
                <a:gd name="T24" fmla="*/ 1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3 w 24"/>
                <a:gd name="T1" fmla="*/ 4 h 37"/>
                <a:gd name="T2" fmla="*/ 2 w 24"/>
                <a:gd name="T3" fmla="*/ 3 h 37"/>
                <a:gd name="T4" fmla="*/ 2 w 24"/>
                <a:gd name="T5" fmla="*/ 2 h 37"/>
                <a:gd name="T6" fmla="*/ 1 w 24"/>
                <a:gd name="T7" fmla="*/ 1 h 37"/>
                <a:gd name="T8" fmla="*/ 1 w 24"/>
                <a:gd name="T9" fmla="*/ 0 h 37"/>
                <a:gd name="T10" fmla="*/ 1 w 24"/>
                <a:gd name="T11" fmla="*/ 1 h 37"/>
                <a:gd name="T12" fmla="*/ 0 w 24"/>
                <a:gd name="T13" fmla="*/ 2 h 37"/>
                <a:gd name="T14" fmla="*/ 0 w 24"/>
                <a:gd name="T15" fmla="*/ 3 h 37"/>
                <a:gd name="T16" fmla="*/ 0 w 24"/>
                <a:gd name="T17" fmla="*/ 3 h 37"/>
                <a:gd name="T18" fmla="*/ 0 w 24"/>
                <a:gd name="T19" fmla="*/ 4 h 37"/>
                <a:gd name="T20" fmla="*/ 0 w 24"/>
                <a:gd name="T21" fmla="*/ 4 h 37"/>
                <a:gd name="T22" fmla="*/ 0 w 24"/>
                <a:gd name="T23" fmla="*/ 4 h 37"/>
                <a:gd name="T24" fmla="*/ 1 w 24"/>
                <a:gd name="T25" fmla="*/ 4 h 37"/>
                <a:gd name="T26" fmla="*/ 2 w 24"/>
                <a:gd name="T27" fmla="*/ 4 h 37"/>
                <a:gd name="T28" fmla="*/ 3 w 24"/>
                <a:gd name="T29" fmla="*/ 4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4 w 34"/>
                <a:gd name="T1" fmla="*/ 0 h 55"/>
                <a:gd name="T2" fmla="*/ 4 w 34"/>
                <a:gd name="T3" fmla="*/ 1 h 55"/>
                <a:gd name="T4" fmla="*/ 4 w 34"/>
                <a:gd name="T5" fmla="*/ 2 h 55"/>
                <a:gd name="T6" fmla="*/ 4 w 34"/>
                <a:gd name="T7" fmla="*/ 3 h 55"/>
                <a:gd name="T8" fmla="*/ 3 w 34"/>
                <a:gd name="T9" fmla="*/ 4 h 55"/>
                <a:gd name="T10" fmla="*/ 3 w 34"/>
                <a:gd name="T11" fmla="*/ 4 h 55"/>
                <a:gd name="T12" fmla="*/ 3 w 34"/>
                <a:gd name="T13" fmla="*/ 5 h 55"/>
                <a:gd name="T14" fmla="*/ 2 w 34"/>
                <a:gd name="T15" fmla="*/ 5 h 55"/>
                <a:gd name="T16" fmla="*/ 2 w 34"/>
                <a:gd name="T17" fmla="*/ 5 h 55"/>
                <a:gd name="T18" fmla="*/ 1 w 34"/>
                <a:gd name="T19" fmla="*/ 5 h 55"/>
                <a:gd name="T20" fmla="*/ 0 w 34"/>
                <a:gd name="T21" fmla="*/ 5 h 55"/>
                <a:gd name="T22" fmla="*/ 1 w 34"/>
                <a:gd name="T23" fmla="*/ 3 h 55"/>
                <a:gd name="T24" fmla="*/ 2 w 34"/>
                <a:gd name="T25" fmla="*/ 2 h 55"/>
                <a:gd name="T26" fmla="*/ 2 w 34"/>
                <a:gd name="T27" fmla="*/ 2 h 55"/>
                <a:gd name="T28" fmla="*/ 2 w 34"/>
                <a:gd name="T29" fmla="*/ 1 h 55"/>
                <a:gd name="T30" fmla="*/ 3 w 34"/>
                <a:gd name="T31" fmla="*/ 1 h 55"/>
                <a:gd name="T32" fmla="*/ 4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1 w 33"/>
                <a:gd name="T5" fmla="*/ 1 h 12"/>
                <a:gd name="T6" fmla="*/ 1 w 33"/>
                <a:gd name="T7" fmla="*/ 1 h 12"/>
                <a:gd name="T8" fmla="*/ 2 w 33"/>
                <a:gd name="T9" fmla="*/ 1 h 12"/>
                <a:gd name="T10" fmla="*/ 3 w 33"/>
                <a:gd name="T11" fmla="*/ 1 h 12"/>
                <a:gd name="T12" fmla="*/ 4 w 33"/>
                <a:gd name="T13" fmla="*/ 1 h 12"/>
                <a:gd name="T14" fmla="*/ 3 w 33"/>
                <a:gd name="T15" fmla="*/ 1 h 12"/>
                <a:gd name="T16" fmla="*/ 2 w 33"/>
                <a:gd name="T17" fmla="*/ 0 h 12"/>
                <a:gd name="T18" fmla="*/ 1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195719" y="6810219"/>
            <a:ext cx="12700" cy="57150"/>
          </a:xfrm>
          <a:custGeom>
            <a:avLst/>
            <a:gdLst>
              <a:gd name="T0" fmla="*/ 0 w 33"/>
              <a:gd name="T1" fmla="*/ 52679395 h 62"/>
              <a:gd name="T2" fmla="*/ 0 w 33"/>
              <a:gd name="T3" fmla="*/ 45032356 h 62"/>
              <a:gd name="T4" fmla="*/ 0 w 33"/>
              <a:gd name="T5" fmla="*/ 38235194 h 62"/>
              <a:gd name="T6" fmla="*/ 0 w 33"/>
              <a:gd name="T7" fmla="*/ 31438031 h 62"/>
              <a:gd name="T8" fmla="*/ 0 w 33"/>
              <a:gd name="T9" fmla="*/ 26339698 h 62"/>
              <a:gd name="T10" fmla="*/ 0 w 33"/>
              <a:gd name="T11" fmla="*/ 22091240 h 62"/>
              <a:gd name="T12" fmla="*/ 296333 w 33"/>
              <a:gd name="T13" fmla="*/ 18692659 h 62"/>
              <a:gd name="T14" fmla="*/ 592282 w 33"/>
              <a:gd name="T15" fmla="*/ 14444202 h 62"/>
              <a:gd name="T16" fmla="*/ 1184948 w 33"/>
              <a:gd name="T17" fmla="*/ 11045620 h 62"/>
              <a:gd name="T18" fmla="*/ 2073564 w 33"/>
              <a:gd name="T19" fmla="*/ 5098333 h 62"/>
              <a:gd name="T20" fmla="*/ 2962179 w 33"/>
              <a:gd name="T21" fmla="*/ 0 h 62"/>
              <a:gd name="T22" fmla="*/ 3850794 w 33"/>
              <a:gd name="T23" fmla="*/ 5098333 h 62"/>
              <a:gd name="T24" fmla="*/ 4887576 w 33"/>
              <a:gd name="T25" fmla="*/ 11045620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205244" y="6900707"/>
            <a:ext cx="9525" cy="58737"/>
          </a:xfrm>
          <a:custGeom>
            <a:avLst/>
            <a:gdLst>
              <a:gd name="T0" fmla="*/ 0 w 26"/>
              <a:gd name="T1" fmla="*/ 191668621 h 18"/>
              <a:gd name="T2" fmla="*/ 0 w 26"/>
              <a:gd name="T3" fmla="*/ 0 h 18"/>
              <a:gd name="T4" fmla="*/ 3489447 w 26"/>
              <a:gd name="T5" fmla="*/ 0 h 18"/>
              <a:gd name="T6" fmla="*/ 805229 w 26"/>
              <a:gd name="T7" fmla="*/ 127779080 h 18"/>
              <a:gd name="T8" fmla="*/ 805229 w 26"/>
              <a:gd name="T9" fmla="*/ 6388954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319544" y="6810219"/>
            <a:ext cx="77788" cy="130175"/>
          </a:xfrm>
          <a:custGeom>
            <a:avLst/>
            <a:gdLst>
              <a:gd name="T0" fmla="*/ 33616516 w 180"/>
              <a:gd name="T1" fmla="*/ 65310967 h 240"/>
              <a:gd name="T2" fmla="*/ 32682628 w 180"/>
              <a:gd name="T3" fmla="*/ 65604946 h 240"/>
              <a:gd name="T4" fmla="*/ 31935863 w 180"/>
              <a:gd name="T5" fmla="*/ 65604946 h 240"/>
              <a:gd name="T6" fmla="*/ 31188666 w 180"/>
              <a:gd name="T7" fmla="*/ 66193445 h 240"/>
              <a:gd name="T8" fmla="*/ 30628593 w 180"/>
              <a:gd name="T9" fmla="*/ 66781945 h 240"/>
              <a:gd name="T10" fmla="*/ 29508013 w 180"/>
              <a:gd name="T11" fmla="*/ 68252922 h 240"/>
              <a:gd name="T12" fmla="*/ 28574125 w 180"/>
              <a:gd name="T13" fmla="*/ 70606378 h 240"/>
              <a:gd name="T14" fmla="*/ 26146275 w 180"/>
              <a:gd name="T15" fmla="*/ 68252922 h 240"/>
              <a:gd name="T16" fmla="*/ 24465190 w 180"/>
              <a:gd name="T17" fmla="*/ 65604946 h 240"/>
              <a:gd name="T18" fmla="*/ 22971229 w 180"/>
              <a:gd name="T19" fmla="*/ 62957512 h 240"/>
              <a:gd name="T20" fmla="*/ 22037340 w 180"/>
              <a:gd name="T21" fmla="*/ 60604056 h 240"/>
              <a:gd name="T22" fmla="*/ 20916761 w 180"/>
              <a:gd name="T23" fmla="*/ 57367580 h 240"/>
              <a:gd name="T24" fmla="*/ 19796182 w 180"/>
              <a:gd name="T25" fmla="*/ 54425625 h 240"/>
              <a:gd name="T26" fmla="*/ 18302220 w 180"/>
              <a:gd name="T27" fmla="*/ 51189692 h 240"/>
              <a:gd name="T28" fmla="*/ 16248185 w 180"/>
              <a:gd name="T29" fmla="*/ 47365259 h 240"/>
              <a:gd name="T30" fmla="*/ 15314296 w 180"/>
              <a:gd name="T31" fmla="*/ 45011803 h 240"/>
              <a:gd name="T32" fmla="*/ 14007026 w 180"/>
              <a:gd name="T33" fmla="*/ 42952326 h 240"/>
              <a:gd name="T34" fmla="*/ 13073138 w 180"/>
              <a:gd name="T35" fmla="*/ 40892849 h 240"/>
              <a:gd name="T36" fmla="*/ 11579176 w 180"/>
              <a:gd name="T37" fmla="*/ 39127893 h 240"/>
              <a:gd name="T38" fmla="*/ 8964203 w 180"/>
              <a:gd name="T39" fmla="*/ 35597439 h 240"/>
              <a:gd name="T40" fmla="*/ 6162970 w 180"/>
              <a:gd name="T41" fmla="*/ 32361505 h 240"/>
              <a:gd name="T42" fmla="*/ 5042391 w 180"/>
              <a:gd name="T43" fmla="*/ 30596007 h 240"/>
              <a:gd name="T44" fmla="*/ 3921812 w 180"/>
              <a:gd name="T45" fmla="*/ 28831051 h 240"/>
              <a:gd name="T46" fmla="*/ 2801232 w 180"/>
              <a:gd name="T47" fmla="*/ 27065552 h 240"/>
              <a:gd name="T48" fmla="*/ 1867776 w 180"/>
              <a:gd name="T49" fmla="*/ 24712097 h 240"/>
              <a:gd name="T50" fmla="*/ 1120579 w 180"/>
              <a:gd name="T51" fmla="*/ 22652620 h 240"/>
              <a:gd name="T52" fmla="*/ 747197 w 180"/>
              <a:gd name="T53" fmla="*/ 20005186 h 240"/>
              <a:gd name="T54" fmla="*/ 186691 w 180"/>
              <a:gd name="T55" fmla="*/ 17651730 h 240"/>
              <a:gd name="T56" fmla="*/ 0 w 180"/>
              <a:gd name="T57" fmla="*/ 14709775 h 240"/>
              <a:gd name="T58" fmla="*/ 0 w 180"/>
              <a:gd name="T59" fmla="*/ 10296843 h 240"/>
              <a:gd name="T60" fmla="*/ 0 w 180"/>
              <a:gd name="T61" fmla="*/ 7354888 h 240"/>
              <a:gd name="T62" fmla="*/ 0 w 180"/>
              <a:gd name="T63" fmla="*/ 4412933 h 240"/>
              <a:gd name="T64" fmla="*/ 0 w 180"/>
              <a:gd name="T65" fmla="*/ 0 h 240"/>
              <a:gd name="T66" fmla="*/ 1867776 w 180"/>
              <a:gd name="T67" fmla="*/ 2353456 h 240"/>
              <a:gd name="T68" fmla="*/ 3548429 w 180"/>
              <a:gd name="T69" fmla="*/ 5001432 h 240"/>
              <a:gd name="T70" fmla="*/ 5042391 w 180"/>
              <a:gd name="T71" fmla="*/ 7943387 h 240"/>
              <a:gd name="T72" fmla="*/ 6349662 w 180"/>
              <a:gd name="T73" fmla="*/ 11179321 h 240"/>
              <a:gd name="T74" fmla="*/ 7656932 w 180"/>
              <a:gd name="T75" fmla="*/ 14121276 h 240"/>
              <a:gd name="T76" fmla="*/ 8590820 w 180"/>
              <a:gd name="T77" fmla="*/ 17063231 h 240"/>
              <a:gd name="T78" fmla="*/ 9524708 w 180"/>
              <a:gd name="T79" fmla="*/ 19416686 h 240"/>
              <a:gd name="T80" fmla="*/ 10084782 w 180"/>
              <a:gd name="T81" fmla="*/ 21770142 h 240"/>
              <a:gd name="T82" fmla="*/ 11205361 w 180"/>
              <a:gd name="T83" fmla="*/ 25300596 h 240"/>
              <a:gd name="T84" fmla="*/ 12325941 w 180"/>
              <a:gd name="T85" fmla="*/ 28831051 h 240"/>
              <a:gd name="T86" fmla="*/ 13820335 w 180"/>
              <a:gd name="T87" fmla="*/ 31478485 h 240"/>
              <a:gd name="T88" fmla="*/ 15314296 w 180"/>
              <a:gd name="T89" fmla="*/ 34126461 h 240"/>
              <a:gd name="T90" fmla="*/ 18676034 w 180"/>
              <a:gd name="T91" fmla="*/ 39127893 h 240"/>
              <a:gd name="T92" fmla="*/ 22224464 w 180"/>
              <a:gd name="T93" fmla="*/ 43834804 h 240"/>
              <a:gd name="T94" fmla="*/ 25959584 w 180"/>
              <a:gd name="T95" fmla="*/ 48247737 h 240"/>
              <a:gd name="T96" fmla="*/ 28947508 w 180"/>
              <a:gd name="T97" fmla="*/ 52954648 h 240"/>
              <a:gd name="T98" fmla="*/ 30441469 w 180"/>
              <a:gd name="T99" fmla="*/ 55602624 h 240"/>
              <a:gd name="T100" fmla="*/ 31562049 w 180"/>
              <a:gd name="T101" fmla="*/ 58544579 h 240"/>
              <a:gd name="T102" fmla="*/ 32682628 w 180"/>
              <a:gd name="T103" fmla="*/ 61780513 h 240"/>
              <a:gd name="T104" fmla="*/ 33616516 w 180"/>
              <a:gd name="T105" fmla="*/ 6531096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319544" y="6783232"/>
            <a:ext cx="14288" cy="57150"/>
          </a:xfrm>
          <a:custGeom>
            <a:avLst/>
            <a:gdLst>
              <a:gd name="T0" fmla="*/ 0 w 27"/>
              <a:gd name="T1" fmla="*/ 0 h 30"/>
              <a:gd name="T2" fmla="*/ 279939 w 27"/>
              <a:gd name="T3" fmla="*/ 18145125 h 30"/>
              <a:gd name="T4" fmla="*/ 840346 w 27"/>
              <a:gd name="T5" fmla="*/ 39919275 h 30"/>
              <a:gd name="T6" fmla="*/ 1120285 w 27"/>
              <a:gd name="T7" fmla="*/ 50806350 h 30"/>
              <a:gd name="T8" fmla="*/ 1120285 w 27"/>
              <a:gd name="T9" fmla="*/ 68951475 h 30"/>
              <a:gd name="T10" fmla="*/ 840346 w 27"/>
              <a:gd name="T11" fmla="*/ 87096600 h 30"/>
              <a:gd name="T12" fmla="*/ 0 w 27"/>
              <a:gd name="T13" fmla="*/ 108870750 h 30"/>
              <a:gd name="T14" fmla="*/ 4760550 w 27"/>
              <a:gd name="T15" fmla="*/ 97983675 h 30"/>
              <a:gd name="T16" fmla="*/ 7560998 w 27"/>
              <a:gd name="T17" fmla="*/ 87096600 h 30"/>
              <a:gd name="T18" fmla="*/ 6440713 w 27"/>
              <a:gd name="T19" fmla="*/ 72580500 h 30"/>
              <a:gd name="T20" fmla="*/ 4760550 w 27"/>
              <a:gd name="T21" fmla="*/ 43548300 h 30"/>
              <a:gd name="T22" fmla="*/ 3080387 w 27"/>
              <a:gd name="T23" fmla="*/ 29032200 h 30"/>
              <a:gd name="T24" fmla="*/ 1960102 w 27"/>
              <a:gd name="T25" fmla="*/ 14516100 h 30"/>
              <a:gd name="T26" fmla="*/ 1120285 w 27"/>
              <a:gd name="T27" fmla="*/ 362902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3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009982" y="7303932"/>
            <a:ext cx="458787" cy="404812"/>
            <a:chOff x="5372" y="3323"/>
            <a:chExt cx="341" cy="253"/>
          </a:xfrm>
          <a:solidFill>
            <a:srgbClr val="3C5C4F"/>
          </a:solidFill>
        </p:grpSpPr>
        <p:sp>
          <p:nvSpPr>
            <p:cNvPr id="13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 h 33"/>
                <a:gd name="T2" fmla="*/ 0 w 53"/>
                <a:gd name="T3" fmla="*/ 3 h 33"/>
                <a:gd name="T4" fmla="*/ 1 w 53"/>
                <a:gd name="T5" fmla="*/ 2 h 33"/>
                <a:gd name="T6" fmla="*/ 2 w 53"/>
                <a:gd name="T7" fmla="*/ 2 h 33"/>
                <a:gd name="T8" fmla="*/ 2 w 53"/>
                <a:gd name="T9" fmla="*/ 1 h 33"/>
                <a:gd name="T10" fmla="*/ 3 w 53"/>
                <a:gd name="T11" fmla="*/ 1 h 33"/>
                <a:gd name="T12" fmla="*/ 3 w 53"/>
                <a:gd name="T13" fmla="*/ 0 h 33"/>
                <a:gd name="T14" fmla="*/ 4 w 53"/>
                <a:gd name="T15" fmla="*/ 0 h 33"/>
                <a:gd name="T16" fmla="*/ 5 w 53"/>
                <a:gd name="T17" fmla="*/ 0 h 33"/>
                <a:gd name="T18" fmla="*/ 5 w 53"/>
                <a:gd name="T19" fmla="*/ 2 h 33"/>
                <a:gd name="T20" fmla="*/ 3 w 53"/>
                <a:gd name="T21" fmla="*/ 3 h 33"/>
                <a:gd name="T22" fmla="*/ 2 w 53"/>
                <a:gd name="T23" fmla="*/ 3 h 33"/>
                <a:gd name="T24" fmla="*/ 2 w 53"/>
                <a:gd name="T25" fmla="*/ 4 h 33"/>
                <a:gd name="T26" fmla="*/ 2 w 53"/>
                <a:gd name="T27" fmla="*/ 4 h 33"/>
                <a:gd name="T28" fmla="*/ 1 w 53"/>
                <a:gd name="T29" fmla="*/ 4 h 33"/>
                <a:gd name="T30" fmla="*/ 0 w 53"/>
                <a:gd name="T31" fmla="*/ 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3 w 631"/>
                <a:gd name="T1" fmla="*/ 32 h 358"/>
                <a:gd name="T2" fmla="*/ 5 w 631"/>
                <a:gd name="T3" fmla="*/ 31 h 358"/>
                <a:gd name="T4" fmla="*/ 7 w 631"/>
                <a:gd name="T5" fmla="*/ 30 h 358"/>
                <a:gd name="T6" fmla="*/ 8 w 631"/>
                <a:gd name="T7" fmla="*/ 27 h 358"/>
                <a:gd name="T8" fmla="*/ 10 w 631"/>
                <a:gd name="T9" fmla="*/ 27 h 358"/>
                <a:gd name="T10" fmla="*/ 13 w 631"/>
                <a:gd name="T11" fmla="*/ 27 h 358"/>
                <a:gd name="T12" fmla="*/ 14 w 631"/>
                <a:gd name="T13" fmla="*/ 26 h 358"/>
                <a:gd name="T14" fmla="*/ 17 w 631"/>
                <a:gd name="T15" fmla="*/ 25 h 358"/>
                <a:gd name="T16" fmla="*/ 19 w 631"/>
                <a:gd name="T17" fmla="*/ 22 h 358"/>
                <a:gd name="T18" fmla="*/ 22 w 631"/>
                <a:gd name="T19" fmla="*/ 21 h 358"/>
                <a:gd name="T20" fmla="*/ 27 w 631"/>
                <a:gd name="T21" fmla="*/ 19 h 358"/>
                <a:gd name="T22" fmla="*/ 34 w 631"/>
                <a:gd name="T23" fmla="*/ 16 h 358"/>
                <a:gd name="T24" fmla="*/ 37 w 631"/>
                <a:gd name="T25" fmla="*/ 15 h 358"/>
                <a:gd name="T26" fmla="*/ 40 w 631"/>
                <a:gd name="T27" fmla="*/ 14 h 358"/>
                <a:gd name="T28" fmla="*/ 42 w 631"/>
                <a:gd name="T29" fmla="*/ 14 h 358"/>
                <a:gd name="T30" fmla="*/ 45 w 631"/>
                <a:gd name="T31" fmla="*/ 11 h 358"/>
                <a:gd name="T32" fmla="*/ 48 w 631"/>
                <a:gd name="T33" fmla="*/ 8 h 358"/>
                <a:gd name="T34" fmla="*/ 49 w 631"/>
                <a:gd name="T35" fmla="*/ 7 h 358"/>
                <a:gd name="T36" fmla="*/ 52 w 631"/>
                <a:gd name="T37" fmla="*/ 6 h 358"/>
                <a:gd name="T38" fmla="*/ 55 w 631"/>
                <a:gd name="T39" fmla="*/ 4 h 358"/>
                <a:gd name="T40" fmla="*/ 58 w 631"/>
                <a:gd name="T41" fmla="*/ 1 h 358"/>
                <a:gd name="T42" fmla="*/ 61 w 631"/>
                <a:gd name="T43" fmla="*/ 0 h 358"/>
                <a:gd name="T44" fmla="*/ 62 w 631"/>
                <a:gd name="T45" fmla="*/ 2 h 358"/>
                <a:gd name="T46" fmla="*/ 63 w 631"/>
                <a:gd name="T47" fmla="*/ 3 h 358"/>
                <a:gd name="T48" fmla="*/ 64 w 631"/>
                <a:gd name="T49" fmla="*/ 5 h 358"/>
                <a:gd name="T50" fmla="*/ 61 w 631"/>
                <a:gd name="T51" fmla="*/ 9 h 358"/>
                <a:gd name="T52" fmla="*/ 58 w 631"/>
                <a:gd name="T53" fmla="*/ 13 h 358"/>
                <a:gd name="T54" fmla="*/ 54 w 631"/>
                <a:gd name="T55" fmla="*/ 16 h 358"/>
                <a:gd name="T56" fmla="*/ 50 w 631"/>
                <a:gd name="T57" fmla="*/ 19 h 358"/>
                <a:gd name="T58" fmla="*/ 45 w 631"/>
                <a:gd name="T59" fmla="*/ 19 h 358"/>
                <a:gd name="T60" fmla="*/ 45 w 631"/>
                <a:gd name="T61" fmla="*/ 21 h 358"/>
                <a:gd name="T62" fmla="*/ 44 w 631"/>
                <a:gd name="T63" fmla="*/ 21 h 358"/>
                <a:gd name="T64" fmla="*/ 40 w 631"/>
                <a:gd name="T65" fmla="*/ 21 h 358"/>
                <a:gd name="T66" fmla="*/ 37 w 631"/>
                <a:gd name="T67" fmla="*/ 23 h 358"/>
                <a:gd name="T68" fmla="*/ 36 w 631"/>
                <a:gd name="T69" fmla="*/ 23 h 358"/>
                <a:gd name="T70" fmla="*/ 35 w 631"/>
                <a:gd name="T71" fmla="*/ 22 h 358"/>
                <a:gd name="T72" fmla="*/ 32 w 631"/>
                <a:gd name="T73" fmla="*/ 26 h 358"/>
                <a:gd name="T74" fmla="*/ 28 w 631"/>
                <a:gd name="T75" fmla="*/ 30 h 358"/>
                <a:gd name="T76" fmla="*/ 22 w 631"/>
                <a:gd name="T77" fmla="*/ 34 h 358"/>
                <a:gd name="T78" fmla="*/ 17 w 631"/>
                <a:gd name="T79" fmla="*/ 37 h 358"/>
                <a:gd name="T80" fmla="*/ 11 w 631"/>
                <a:gd name="T81" fmla="*/ 38 h 358"/>
                <a:gd name="T82" fmla="*/ 7 w 631"/>
                <a:gd name="T83" fmla="*/ 38 h 358"/>
                <a:gd name="T84" fmla="*/ 6 w 631"/>
                <a:gd name="T85" fmla="*/ 37 h 358"/>
                <a:gd name="T86" fmla="*/ 4 w 631"/>
                <a:gd name="T87" fmla="*/ 36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 w 359"/>
                <a:gd name="T1" fmla="*/ 31 h 431"/>
                <a:gd name="T2" fmla="*/ 10 w 359"/>
                <a:gd name="T3" fmla="*/ 29 h 431"/>
                <a:gd name="T4" fmla="*/ 17 w 359"/>
                <a:gd name="T5" fmla="*/ 22 h 431"/>
                <a:gd name="T6" fmla="*/ 18 w 359"/>
                <a:gd name="T7" fmla="*/ 18 h 431"/>
                <a:gd name="T8" fmla="*/ 19 w 359"/>
                <a:gd name="T9" fmla="*/ 16 h 431"/>
                <a:gd name="T10" fmla="*/ 20 w 359"/>
                <a:gd name="T11" fmla="*/ 15 h 431"/>
                <a:gd name="T12" fmla="*/ 20 w 359"/>
                <a:gd name="T13" fmla="*/ 13 h 431"/>
                <a:gd name="T14" fmla="*/ 19 w 359"/>
                <a:gd name="T15" fmla="*/ 10 h 431"/>
                <a:gd name="T16" fmla="*/ 18 w 359"/>
                <a:gd name="T17" fmla="*/ 4 h 431"/>
                <a:gd name="T18" fmla="*/ 19 w 359"/>
                <a:gd name="T19" fmla="*/ 0 h 431"/>
                <a:gd name="T20" fmla="*/ 20 w 359"/>
                <a:gd name="T21" fmla="*/ 1 h 431"/>
                <a:gd name="T22" fmla="*/ 22 w 359"/>
                <a:gd name="T23" fmla="*/ 3 h 431"/>
                <a:gd name="T24" fmla="*/ 24 w 359"/>
                <a:gd name="T25" fmla="*/ 6 h 431"/>
                <a:gd name="T26" fmla="*/ 25 w 359"/>
                <a:gd name="T27" fmla="*/ 8 h 431"/>
                <a:gd name="T28" fmla="*/ 25 w 359"/>
                <a:gd name="T29" fmla="*/ 9 h 431"/>
                <a:gd name="T30" fmla="*/ 24 w 359"/>
                <a:gd name="T31" fmla="*/ 11 h 431"/>
                <a:gd name="T32" fmla="*/ 21 w 359"/>
                <a:gd name="T33" fmla="*/ 13 h 431"/>
                <a:gd name="T34" fmla="*/ 21 w 359"/>
                <a:gd name="T35" fmla="*/ 14 h 431"/>
                <a:gd name="T36" fmla="*/ 21 w 359"/>
                <a:gd name="T37" fmla="*/ 16 h 431"/>
                <a:gd name="T38" fmla="*/ 21 w 359"/>
                <a:gd name="T39" fmla="*/ 17 h 431"/>
                <a:gd name="T40" fmla="*/ 24 w 359"/>
                <a:gd name="T41" fmla="*/ 17 h 431"/>
                <a:gd name="T42" fmla="*/ 24 w 359"/>
                <a:gd name="T43" fmla="*/ 16 h 431"/>
                <a:gd name="T44" fmla="*/ 24 w 359"/>
                <a:gd name="T45" fmla="*/ 14 h 431"/>
                <a:gd name="T46" fmla="*/ 27 w 359"/>
                <a:gd name="T47" fmla="*/ 21 h 431"/>
                <a:gd name="T48" fmla="*/ 28 w 359"/>
                <a:gd name="T49" fmla="*/ 22 h 431"/>
                <a:gd name="T50" fmla="*/ 30 w 359"/>
                <a:gd name="T51" fmla="*/ 24 h 431"/>
                <a:gd name="T52" fmla="*/ 31 w 359"/>
                <a:gd name="T53" fmla="*/ 23 h 431"/>
                <a:gd name="T54" fmla="*/ 33 w 359"/>
                <a:gd name="T55" fmla="*/ 22 h 431"/>
                <a:gd name="T56" fmla="*/ 36 w 359"/>
                <a:gd name="T57" fmla="*/ 21 h 431"/>
                <a:gd name="T58" fmla="*/ 37 w 359"/>
                <a:gd name="T59" fmla="*/ 22 h 431"/>
                <a:gd name="T60" fmla="*/ 36 w 359"/>
                <a:gd name="T61" fmla="*/ 26 h 431"/>
                <a:gd name="T62" fmla="*/ 34 w 359"/>
                <a:gd name="T63" fmla="*/ 28 h 431"/>
                <a:gd name="T64" fmla="*/ 31 w 359"/>
                <a:gd name="T65" fmla="*/ 29 h 431"/>
                <a:gd name="T66" fmla="*/ 26 w 359"/>
                <a:gd name="T67" fmla="*/ 31 h 431"/>
                <a:gd name="T68" fmla="*/ 22 w 359"/>
                <a:gd name="T69" fmla="*/ 32 h 431"/>
                <a:gd name="T70" fmla="*/ 20 w 359"/>
                <a:gd name="T71" fmla="*/ 33 h 431"/>
                <a:gd name="T72" fmla="*/ 19 w 359"/>
                <a:gd name="T73" fmla="*/ 36 h 431"/>
                <a:gd name="T74" fmla="*/ 17 w 359"/>
                <a:gd name="T75" fmla="*/ 38 h 431"/>
                <a:gd name="T76" fmla="*/ 11 w 359"/>
                <a:gd name="T77" fmla="*/ 42 h 431"/>
                <a:gd name="T78" fmla="*/ 5 w 359"/>
                <a:gd name="T79" fmla="*/ 45 h 431"/>
                <a:gd name="T80" fmla="*/ 2 w 359"/>
                <a:gd name="T81" fmla="*/ 46 h 431"/>
                <a:gd name="T82" fmla="*/ 1 w 359"/>
                <a:gd name="T83" fmla="*/ 45 h 431"/>
                <a:gd name="T84" fmla="*/ 0 w 359"/>
                <a:gd name="T85" fmla="*/ 44 h 431"/>
                <a:gd name="T86" fmla="*/ 0 w 359"/>
                <a:gd name="T87" fmla="*/ 43 h 431"/>
                <a:gd name="T88" fmla="*/ 1 w 359"/>
                <a:gd name="T89" fmla="*/ 42 h 431"/>
                <a:gd name="T90" fmla="*/ 6 w 359"/>
                <a:gd name="T91" fmla="*/ 40 h 431"/>
                <a:gd name="T92" fmla="*/ 8 w 359"/>
                <a:gd name="T93" fmla="*/ 38 h 431"/>
                <a:gd name="T94" fmla="*/ 7 w 359"/>
                <a:gd name="T95" fmla="*/ 36 h 431"/>
                <a:gd name="T96" fmla="*/ 7 w 359"/>
                <a:gd name="T97" fmla="*/ 35 h 431"/>
                <a:gd name="T98" fmla="*/ 5 w 359"/>
                <a:gd name="T99" fmla="*/ 34 h 431"/>
                <a:gd name="T100" fmla="*/ 2 w 359"/>
                <a:gd name="T101" fmla="*/ 3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3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52794" y="5960907"/>
            <a:ext cx="9525" cy="57150"/>
          </a:xfrm>
          <a:custGeom>
            <a:avLst/>
            <a:gdLst>
              <a:gd name="T0" fmla="*/ 0 w 21"/>
              <a:gd name="T1" fmla="*/ 36535442 h 62"/>
              <a:gd name="T2" fmla="*/ 205921 w 21"/>
              <a:gd name="T3" fmla="*/ 24639946 h 62"/>
              <a:gd name="T4" fmla="*/ 617311 w 21"/>
              <a:gd name="T5" fmla="*/ 14444202 h 62"/>
              <a:gd name="T6" fmla="*/ 822779 w 21"/>
              <a:gd name="T7" fmla="*/ 9346790 h 62"/>
              <a:gd name="T8" fmla="*/ 1234168 w 21"/>
              <a:gd name="T9" fmla="*/ 5947287 h 62"/>
              <a:gd name="T10" fmla="*/ 1851479 w 21"/>
              <a:gd name="T11" fmla="*/ 2548706 h 62"/>
              <a:gd name="T12" fmla="*/ 3086100 w 21"/>
              <a:gd name="T13" fmla="*/ 0 h 62"/>
              <a:gd name="T14" fmla="*/ 3086100 w 21"/>
              <a:gd name="T15" fmla="*/ 12745372 h 62"/>
              <a:gd name="T16" fmla="*/ 3702957 w 21"/>
              <a:gd name="T17" fmla="*/ 26339698 h 62"/>
              <a:gd name="T18" fmla="*/ 4114346 w 21"/>
              <a:gd name="T19" fmla="*/ 37385318 h 62"/>
              <a:gd name="T20" fmla="*/ 4320268 w 21"/>
              <a:gd name="T21" fmla="*/ 41633775 h 62"/>
              <a:gd name="T22" fmla="*/ 2057400 w 21"/>
              <a:gd name="T23" fmla="*/ 46732108 h 62"/>
              <a:gd name="T24" fmla="*/ 0 w 21"/>
              <a:gd name="T25" fmla="*/ 52679395 h 62"/>
              <a:gd name="T26" fmla="*/ 0 w 21"/>
              <a:gd name="T27" fmla="*/ 36535442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379869" y="6862607"/>
            <a:ext cx="14288" cy="57150"/>
          </a:xfrm>
          <a:custGeom>
            <a:avLst/>
            <a:gdLst>
              <a:gd name="T0" fmla="*/ 0 w 33"/>
              <a:gd name="T1" fmla="*/ 0 h 24"/>
              <a:gd name="T2" fmla="*/ 937379 w 33"/>
              <a:gd name="T3" fmla="*/ 28351163 h 24"/>
              <a:gd name="T4" fmla="*/ 1874759 w 33"/>
              <a:gd name="T5" fmla="*/ 56704706 h 24"/>
              <a:gd name="T6" fmla="*/ 2062235 w 33"/>
              <a:gd name="T7" fmla="*/ 73713975 h 24"/>
              <a:gd name="T8" fmla="*/ 2249711 w 33"/>
              <a:gd name="T9" fmla="*/ 90725625 h 24"/>
              <a:gd name="T10" fmla="*/ 2437186 w 33"/>
              <a:gd name="T11" fmla="*/ 113407031 h 24"/>
              <a:gd name="T12" fmla="*/ 2437186 w 33"/>
              <a:gd name="T13" fmla="*/ 136088438 h 24"/>
              <a:gd name="T14" fmla="*/ 6186271 w 33"/>
              <a:gd name="T15" fmla="*/ 0 h 24"/>
              <a:gd name="T16" fmla="*/ 4498988 w 33"/>
              <a:gd name="T17" fmla="*/ 0 h 24"/>
              <a:gd name="T18" fmla="*/ 2999614 w 33"/>
              <a:gd name="T19" fmla="*/ 0 h 24"/>
              <a:gd name="T20" fmla="*/ 1687283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402094" y="6872132"/>
            <a:ext cx="17463" cy="58737"/>
          </a:xfrm>
          <a:custGeom>
            <a:avLst/>
            <a:gdLst>
              <a:gd name="T0" fmla="*/ 7281013 w 33"/>
              <a:gd name="T1" fmla="*/ 138001407 h 25"/>
              <a:gd name="T2" fmla="*/ 8120824 w 33"/>
              <a:gd name="T3" fmla="*/ 121442272 h 25"/>
              <a:gd name="T4" fmla="*/ 9241102 w 33"/>
              <a:gd name="T5" fmla="*/ 99361859 h 25"/>
              <a:gd name="T6" fmla="*/ 9241102 w 33"/>
              <a:gd name="T7" fmla="*/ 0 h 25"/>
              <a:gd name="T8" fmla="*/ 7001075 w 33"/>
              <a:gd name="T9" fmla="*/ 0 h 25"/>
              <a:gd name="T10" fmla="*/ 4480582 w 33"/>
              <a:gd name="T11" fmla="*/ 0 h 25"/>
              <a:gd name="T12" fmla="*/ 1680152 w 33"/>
              <a:gd name="T13" fmla="*/ 0 h 25"/>
              <a:gd name="T14" fmla="*/ 0 w 33"/>
              <a:gd name="T15" fmla="*/ 0 h 25"/>
              <a:gd name="T16" fmla="*/ 7281013 w 33"/>
              <a:gd name="T17" fmla="*/ 13800140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16294" y="5949794"/>
            <a:ext cx="1588" cy="55563"/>
          </a:xfrm>
          <a:custGeom>
            <a:avLst/>
            <a:gdLst>
              <a:gd name="T0" fmla="*/ 0 w 7"/>
              <a:gd name="T1" fmla="*/ 0 h 55563"/>
              <a:gd name="T2" fmla="*/ 360249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775032" y="5894232"/>
            <a:ext cx="6350" cy="57150"/>
          </a:xfrm>
          <a:custGeom>
            <a:avLst/>
            <a:gdLst>
              <a:gd name="T0" fmla="*/ 2520156 w 16"/>
              <a:gd name="T1" fmla="*/ 0 h 25"/>
              <a:gd name="T2" fmla="*/ 2520156 w 16"/>
              <a:gd name="T3" fmla="*/ 31354776 h 25"/>
              <a:gd name="T4" fmla="*/ 2205038 w 16"/>
              <a:gd name="T5" fmla="*/ 67935348 h 25"/>
              <a:gd name="T6" fmla="*/ 2047478 w 16"/>
              <a:gd name="T7" fmla="*/ 83612736 h 25"/>
              <a:gd name="T8" fmla="*/ 1732756 w 16"/>
              <a:gd name="T9" fmla="*/ 104515920 h 25"/>
              <a:gd name="T10" fmla="*/ 1102519 w 16"/>
              <a:gd name="T11" fmla="*/ 120193308 h 25"/>
              <a:gd name="T12" fmla="*/ 472678 w 16"/>
              <a:gd name="T13" fmla="*/ 130644900 h 25"/>
              <a:gd name="T14" fmla="*/ 157559 w 16"/>
              <a:gd name="T15" fmla="*/ 125419104 h 25"/>
              <a:gd name="T16" fmla="*/ 0 w 16"/>
              <a:gd name="T17" fmla="*/ 109741716 h 25"/>
              <a:gd name="T18" fmla="*/ 157559 w 16"/>
              <a:gd name="T19" fmla="*/ 94064328 h 25"/>
              <a:gd name="T20" fmla="*/ 315119 w 16"/>
              <a:gd name="T21" fmla="*/ 67935348 h 25"/>
              <a:gd name="T22" fmla="*/ 630238 w 16"/>
              <a:gd name="T23" fmla="*/ 47032164 h 25"/>
              <a:gd name="T24" fmla="*/ 1102519 w 16"/>
              <a:gd name="T25" fmla="*/ 20903184 h 25"/>
              <a:gd name="T26" fmla="*/ 1732756 w 16"/>
              <a:gd name="T27" fmla="*/ 5225796 h 25"/>
              <a:gd name="T28" fmla="*/ 2520156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887744" y="5783107"/>
            <a:ext cx="4763" cy="57150"/>
          </a:xfrm>
          <a:custGeom>
            <a:avLst/>
            <a:gdLst>
              <a:gd name="T0" fmla="*/ 0 w 14"/>
              <a:gd name="T1" fmla="*/ 0 h 18"/>
              <a:gd name="T2" fmla="*/ 347359 w 14"/>
              <a:gd name="T3" fmla="*/ 10080625 h 18"/>
              <a:gd name="T4" fmla="*/ 578705 w 14"/>
              <a:gd name="T5" fmla="*/ 20161250 h 18"/>
              <a:gd name="T6" fmla="*/ 810390 w 14"/>
              <a:gd name="T7" fmla="*/ 40322500 h 18"/>
              <a:gd name="T8" fmla="*/ 1041736 w 14"/>
              <a:gd name="T9" fmla="*/ 70564375 h 18"/>
              <a:gd name="T10" fmla="*/ 1504768 w 14"/>
              <a:gd name="T11" fmla="*/ 131048125 h 18"/>
              <a:gd name="T12" fmla="*/ 1620441 w 14"/>
              <a:gd name="T13" fmla="*/ 1814512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040144" y="6481607"/>
            <a:ext cx="26988" cy="58737"/>
          </a:xfrm>
          <a:custGeom>
            <a:avLst/>
            <a:gdLst>
              <a:gd name="T0" fmla="*/ 0 w 67"/>
              <a:gd name="T1" fmla="*/ 0 h 74"/>
              <a:gd name="T2" fmla="*/ 162331 w 67"/>
              <a:gd name="T3" fmla="*/ 10710771 h 74"/>
              <a:gd name="T4" fmla="*/ 486590 w 67"/>
              <a:gd name="T5" fmla="*/ 18900614 h 74"/>
              <a:gd name="T6" fmla="*/ 1135913 w 67"/>
              <a:gd name="T7" fmla="*/ 25830786 h 74"/>
              <a:gd name="T8" fmla="*/ 1947164 w 67"/>
              <a:gd name="T9" fmla="*/ 31501288 h 74"/>
              <a:gd name="T10" fmla="*/ 2758415 w 67"/>
              <a:gd name="T11" fmla="*/ 36541558 h 74"/>
              <a:gd name="T12" fmla="*/ 3731997 w 67"/>
              <a:gd name="T13" fmla="*/ 40322157 h 74"/>
              <a:gd name="T14" fmla="*/ 4543249 w 67"/>
              <a:gd name="T15" fmla="*/ 43471730 h 74"/>
              <a:gd name="T16" fmla="*/ 5354500 w 67"/>
              <a:gd name="T17" fmla="*/ 46622097 h 74"/>
              <a:gd name="T18" fmla="*/ 7138930 w 67"/>
              <a:gd name="T19" fmla="*/ 40951595 h 74"/>
              <a:gd name="T20" fmla="*/ 8923763 w 67"/>
              <a:gd name="T21" fmla="*/ 34651655 h 74"/>
              <a:gd name="T22" fmla="*/ 9573087 w 67"/>
              <a:gd name="T23" fmla="*/ 30871056 h 74"/>
              <a:gd name="T24" fmla="*/ 10222007 w 67"/>
              <a:gd name="T25" fmla="*/ 27091251 h 74"/>
              <a:gd name="T26" fmla="*/ 10708597 w 67"/>
              <a:gd name="T27" fmla="*/ 23311445 h 74"/>
              <a:gd name="T28" fmla="*/ 10870928 w 67"/>
              <a:gd name="T29" fmla="*/ 18900614 h 74"/>
              <a:gd name="T30" fmla="*/ 10870928 w 67"/>
              <a:gd name="T31" fmla="*/ 15751041 h 74"/>
              <a:gd name="T32" fmla="*/ 10870928 w 67"/>
              <a:gd name="T33" fmla="*/ 11340210 h 74"/>
              <a:gd name="T34" fmla="*/ 10870928 w 67"/>
              <a:gd name="T35" fmla="*/ 5670502 h 74"/>
              <a:gd name="T36" fmla="*/ 10870928 w 67"/>
              <a:gd name="T37" fmla="*/ 0 h 74"/>
              <a:gd name="T38" fmla="*/ 7788253 w 67"/>
              <a:gd name="T39" fmla="*/ 0 h 74"/>
              <a:gd name="T40" fmla="*/ 5354500 w 67"/>
              <a:gd name="T41" fmla="*/ 0 h 74"/>
              <a:gd name="T42" fmla="*/ 2758415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103644" y="6495894"/>
            <a:ext cx="12700" cy="57150"/>
          </a:xfrm>
          <a:custGeom>
            <a:avLst/>
            <a:gdLst>
              <a:gd name="T0" fmla="*/ 0 w 34"/>
              <a:gd name="T1" fmla="*/ 0 h 38"/>
              <a:gd name="T2" fmla="*/ 279026 w 34"/>
              <a:gd name="T3" fmla="*/ 6785811 h 38"/>
              <a:gd name="T4" fmla="*/ 558053 w 34"/>
              <a:gd name="T5" fmla="*/ 15833558 h 38"/>
              <a:gd name="T6" fmla="*/ 697753 w 34"/>
              <a:gd name="T7" fmla="*/ 24879801 h 38"/>
              <a:gd name="T8" fmla="*/ 837079 w 34"/>
              <a:gd name="T9" fmla="*/ 36189486 h 38"/>
              <a:gd name="T10" fmla="*/ 1395132 w 34"/>
              <a:gd name="T11" fmla="*/ 63332728 h 38"/>
              <a:gd name="T12" fmla="*/ 1813859 w 34"/>
              <a:gd name="T13" fmla="*/ 85950592 h 38"/>
              <a:gd name="T14" fmla="*/ 2232212 w 34"/>
              <a:gd name="T15" fmla="*/ 83688655 h 38"/>
              <a:gd name="T16" fmla="*/ 2790638 w 34"/>
              <a:gd name="T17" fmla="*/ 81426718 h 38"/>
              <a:gd name="T18" fmla="*/ 3208991 w 34"/>
              <a:gd name="T19" fmla="*/ 76902845 h 38"/>
              <a:gd name="T20" fmla="*/ 3627718 w 34"/>
              <a:gd name="T21" fmla="*/ 70117034 h 38"/>
              <a:gd name="T22" fmla="*/ 3906744 w 34"/>
              <a:gd name="T23" fmla="*/ 63332728 h 38"/>
              <a:gd name="T24" fmla="*/ 4464797 w 34"/>
              <a:gd name="T25" fmla="*/ 54284980 h 38"/>
              <a:gd name="T26" fmla="*/ 4604124 w 34"/>
              <a:gd name="T27" fmla="*/ 47499170 h 38"/>
              <a:gd name="T28" fmla="*/ 4743824 w 34"/>
              <a:gd name="T29" fmla="*/ 42975296 h 38"/>
              <a:gd name="T30" fmla="*/ 4325097 w 34"/>
              <a:gd name="T31" fmla="*/ 40713359 h 38"/>
              <a:gd name="T32" fmla="*/ 3906744 w 34"/>
              <a:gd name="T33" fmla="*/ 38451422 h 38"/>
              <a:gd name="T34" fmla="*/ 3627718 w 34"/>
              <a:gd name="T35" fmla="*/ 31665612 h 38"/>
              <a:gd name="T36" fmla="*/ 3348691 w 34"/>
              <a:gd name="T37" fmla="*/ 27141738 h 38"/>
              <a:gd name="T38" fmla="*/ 2650938 w 34"/>
              <a:gd name="T39" fmla="*/ 13571621 h 38"/>
              <a:gd name="T40" fmla="*/ 1813859 w 34"/>
              <a:gd name="T41" fmla="*/ 0 h 38"/>
              <a:gd name="T42" fmla="*/ 837079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960769" y="6272057"/>
            <a:ext cx="25400" cy="55562"/>
          </a:xfrm>
          <a:custGeom>
            <a:avLst/>
            <a:gdLst>
              <a:gd name="T0" fmla="*/ 12172830 w 53"/>
              <a:gd name="T1" fmla="*/ 134223298 h 23"/>
              <a:gd name="T2" fmla="*/ 12172830 w 53"/>
              <a:gd name="T3" fmla="*/ 23343287 h 23"/>
              <a:gd name="T4" fmla="*/ 11254117 w 53"/>
              <a:gd name="T5" fmla="*/ 11670436 h 23"/>
              <a:gd name="T6" fmla="*/ 10335404 w 53"/>
              <a:gd name="T7" fmla="*/ 5836426 h 23"/>
              <a:gd name="T8" fmla="*/ 9646249 w 53"/>
              <a:gd name="T9" fmla="*/ 0 h 23"/>
              <a:gd name="T10" fmla="*/ 8727536 w 53"/>
              <a:gd name="T11" fmla="*/ 0 h 23"/>
              <a:gd name="T12" fmla="*/ 7120147 w 53"/>
              <a:gd name="T13" fmla="*/ 5836426 h 23"/>
              <a:gd name="T14" fmla="*/ 5512279 w 53"/>
              <a:gd name="T15" fmla="*/ 23343287 h 23"/>
              <a:gd name="T16" fmla="*/ 2526581 w 53"/>
              <a:gd name="T17" fmla="*/ 75866287 h 23"/>
              <a:gd name="T18" fmla="*/ 0 w 53"/>
              <a:gd name="T19" fmla="*/ 134223298 h 23"/>
              <a:gd name="T20" fmla="*/ 12172830 w 53"/>
              <a:gd name="T21" fmla="*/ 134223298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903619" y="6246657"/>
            <a:ext cx="11113" cy="57150"/>
          </a:xfrm>
          <a:custGeom>
            <a:avLst/>
            <a:gdLst>
              <a:gd name="T0" fmla="*/ 0 w 26"/>
              <a:gd name="T1" fmla="*/ 0 h 12"/>
              <a:gd name="T2" fmla="*/ 730893 w 26"/>
              <a:gd name="T3" fmla="*/ 90725625 h 12"/>
              <a:gd name="T4" fmla="*/ 2009743 w 26"/>
              <a:gd name="T5" fmla="*/ 181451250 h 12"/>
              <a:gd name="T6" fmla="*/ 2557700 w 26"/>
              <a:gd name="T7" fmla="*/ 204135038 h 12"/>
              <a:gd name="T8" fmla="*/ 3288593 w 26"/>
              <a:gd name="T9" fmla="*/ 249497850 h 12"/>
              <a:gd name="T10" fmla="*/ 4019059 w 26"/>
              <a:gd name="T11" fmla="*/ 249497850 h 12"/>
              <a:gd name="T12" fmla="*/ 4749953 w 26"/>
              <a:gd name="T13" fmla="*/ 272176875 h 12"/>
              <a:gd name="T14" fmla="*/ 3836550 w 26"/>
              <a:gd name="T15" fmla="*/ 158772225 h 12"/>
              <a:gd name="T16" fmla="*/ 2375190 w 26"/>
              <a:gd name="T17" fmla="*/ 68046600 h 12"/>
              <a:gd name="T18" fmla="*/ 913403 w 26"/>
              <a:gd name="T19" fmla="*/ 22683788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103644" y="6578444"/>
            <a:ext cx="31750" cy="57150"/>
          </a:xfrm>
          <a:custGeom>
            <a:avLst/>
            <a:gdLst>
              <a:gd name="T0" fmla="*/ 0 w 73"/>
              <a:gd name="T1" fmla="*/ 0 h 57150"/>
              <a:gd name="T2" fmla="*/ 3783469 w 73"/>
              <a:gd name="T3" fmla="*/ 0 h 57150"/>
              <a:gd name="T4" fmla="*/ 6998918 w 73"/>
              <a:gd name="T5" fmla="*/ 0 h 57150"/>
              <a:gd name="T6" fmla="*/ 10403997 w 73"/>
              <a:gd name="T7" fmla="*/ 0 h 57150"/>
              <a:gd name="T8" fmla="*/ 13809075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059194" y="6567332"/>
            <a:ext cx="22225" cy="57150"/>
          </a:xfrm>
          <a:custGeom>
            <a:avLst/>
            <a:gdLst>
              <a:gd name="T0" fmla="*/ 0 w 53"/>
              <a:gd name="T1" fmla="*/ 0 h 3"/>
              <a:gd name="T2" fmla="*/ 2461943 w 53"/>
              <a:gd name="T3" fmla="*/ 0 h 3"/>
              <a:gd name="T4" fmla="*/ 4747763 w 53"/>
              <a:gd name="T5" fmla="*/ 1088707500 h 3"/>
              <a:gd name="T6" fmla="*/ 5627118 w 53"/>
              <a:gd name="T7" fmla="*/ 1088707500 h 3"/>
              <a:gd name="T8" fmla="*/ 6857880 w 53"/>
              <a:gd name="T9" fmla="*/ 1088707500 h 3"/>
              <a:gd name="T10" fmla="*/ 7912939 w 53"/>
              <a:gd name="T11" fmla="*/ 362902500 h 3"/>
              <a:gd name="T12" fmla="*/ 9319823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8092532" y="6553044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113169" y="6559394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115957350 h 13"/>
              <a:gd name="T4" fmla="*/ 0 w 1588"/>
              <a:gd name="T5" fmla="*/ 251240192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067132" y="6553044"/>
            <a:ext cx="14287" cy="58738"/>
          </a:xfrm>
          <a:custGeom>
            <a:avLst/>
            <a:gdLst>
              <a:gd name="T0" fmla="*/ 0 w 26"/>
              <a:gd name="T1" fmla="*/ 0 h 58738"/>
              <a:gd name="T2" fmla="*/ 4529529 w 26"/>
              <a:gd name="T3" fmla="*/ 0 h 58738"/>
              <a:gd name="T4" fmla="*/ 785070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060782" y="6533994"/>
            <a:ext cx="6350" cy="60325"/>
          </a:xfrm>
          <a:custGeom>
            <a:avLst/>
            <a:gdLst>
              <a:gd name="T0" fmla="*/ 2016125 w 20"/>
              <a:gd name="T1" fmla="*/ 0 h 25"/>
              <a:gd name="T2" fmla="*/ 0 w 20"/>
              <a:gd name="T3" fmla="*/ 75693397 h 25"/>
              <a:gd name="T4" fmla="*/ 403225 w 20"/>
              <a:gd name="T5" fmla="*/ 104806242 h 25"/>
              <a:gd name="T6" fmla="*/ 1008063 w 20"/>
              <a:gd name="T7" fmla="*/ 122273949 h 25"/>
              <a:gd name="T8" fmla="*/ 1411288 w 20"/>
              <a:gd name="T9" fmla="*/ 139741656 h 25"/>
              <a:gd name="T10" fmla="*/ 2016125 w 20"/>
              <a:gd name="T11" fmla="*/ 145564225 h 25"/>
              <a:gd name="T12" fmla="*/ 2016125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141744" y="6260944"/>
            <a:ext cx="1588" cy="57150"/>
          </a:xfrm>
          <a:custGeom>
            <a:avLst/>
            <a:gdLst>
              <a:gd name="T0" fmla="*/ 0 w 6"/>
              <a:gd name="T1" fmla="*/ 136088438 h 24"/>
              <a:gd name="T2" fmla="*/ 0 w 6"/>
              <a:gd name="T3" fmla="*/ 0 h 24"/>
              <a:gd name="T4" fmla="*/ 420291 w 6"/>
              <a:gd name="T5" fmla="*/ 68044219 h 24"/>
              <a:gd name="T6" fmla="*/ 0 w 6"/>
              <a:gd name="T7" fmla="*/ 136088438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5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8016332" y="5932332"/>
            <a:ext cx="163512" cy="114300"/>
            <a:chOff x="5379" y="2466"/>
            <a:chExt cx="122" cy="71"/>
          </a:xfrm>
          <a:solidFill>
            <a:srgbClr val="DDC9A3"/>
          </a:solidFill>
        </p:grpSpPr>
        <p:sp>
          <p:nvSpPr>
            <p:cNvPr id="15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2 w 19"/>
                <a:gd name="T1" fmla="*/ 3 h 25"/>
                <a:gd name="T2" fmla="*/ 2 w 19"/>
                <a:gd name="T3" fmla="*/ 3 h 25"/>
                <a:gd name="T4" fmla="*/ 2 w 19"/>
                <a:gd name="T5" fmla="*/ 1 h 25"/>
                <a:gd name="T6" fmla="*/ 2 w 19"/>
                <a:gd name="T7" fmla="*/ 1 h 25"/>
                <a:gd name="T8" fmla="*/ 2 w 19"/>
                <a:gd name="T9" fmla="*/ 1 h 25"/>
                <a:gd name="T10" fmla="*/ 2 w 19"/>
                <a:gd name="T11" fmla="*/ 0 h 25"/>
                <a:gd name="T12" fmla="*/ 2 w 19"/>
                <a:gd name="T13" fmla="*/ 0 h 25"/>
                <a:gd name="T14" fmla="*/ 0 w 19"/>
                <a:gd name="T15" fmla="*/ 0 h 25"/>
                <a:gd name="T16" fmla="*/ 0 w 19"/>
                <a:gd name="T17" fmla="*/ 1 h 25"/>
                <a:gd name="T18" fmla="*/ 1 w 19"/>
                <a:gd name="T19" fmla="*/ 2 h 25"/>
                <a:gd name="T20" fmla="*/ 1 w 19"/>
                <a:gd name="T21" fmla="*/ 3 h 25"/>
                <a:gd name="T22" fmla="*/ 1 w 19"/>
                <a:gd name="T23" fmla="*/ 3 h 25"/>
                <a:gd name="T24" fmla="*/ 2 w 19"/>
                <a:gd name="T25" fmla="*/ 3 h 25"/>
                <a:gd name="T26" fmla="*/ 2 w 19"/>
                <a:gd name="T27" fmla="*/ 3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 w 26"/>
                <a:gd name="T1" fmla="*/ 2 h 18"/>
                <a:gd name="T2" fmla="*/ 1 w 26"/>
                <a:gd name="T3" fmla="*/ 2 h 18"/>
                <a:gd name="T4" fmla="*/ 0 w 26"/>
                <a:gd name="T5" fmla="*/ 1 h 18"/>
                <a:gd name="T6" fmla="*/ 0 w 26"/>
                <a:gd name="T7" fmla="*/ 0 h 18"/>
                <a:gd name="T8" fmla="*/ 1 w 26"/>
                <a:gd name="T9" fmla="*/ 0 h 18"/>
                <a:gd name="T10" fmla="*/ 1 w 26"/>
                <a:gd name="T11" fmla="*/ 1 h 18"/>
                <a:gd name="T12" fmla="*/ 1 w 26"/>
                <a:gd name="T13" fmla="*/ 1 h 18"/>
                <a:gd name="T14" fmla="*/ 2 w 26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2 h 18"/>
                <a:gd name="T2" fmla="*/ 2 w 13"/>
                <a:gd name="T3" fmla="*/ 0 h 18"/>
                <a:gd name="T4" fmla="*/ 0 w 13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3 h 24"/>
                <a:gd name="T2" fmla="*/ 0 w 26"/>
                <a:gd name="T3" fmla="*/ 3 h 24"/>
                <a:gd name="T4" fmla="*/ 1 w 26"/>
                <a:gd name="T5" fmla="*/ 2 h 24"/>
                <a:gd name="T6" fmla="*/ 1 w 26"/>
                <a:gd name="T7" fmla="*/ 2 h 24"/>
                <a:gd name="T8" fmla="*/ 2 w 26"/>
                <a:gd name="T9" fmla="*/ 2 h 24"/>
                <a:gd name="T10" fmla="*/ 2 w 26"/>
                <a:gd name="T11" fmla="*/ 1 h 24"/>
                <a:gd name="T12" fmla="*/ 2 w 26"/>
                <a:gd name="T13" fmla="*/ 1 h 24"/>
                <a:gd name="T14" fmla="*/ 2 w 26"/>
                <a:gd name="T15" fmla="*/ 0 h 24"/>
                <a:gd name="T16" fmla="*/ 2 w 26"/>
                <a:gd name="T17" fmla="*/ 0 h 24"/>
                <a:gd name="T18" fmla="*/ 0 w 2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1 h 6"/>
                <a:gd name="T2" fmla="*/ 1 w 34"/>
                <a:gd name="T3" fmla="*/ 1 h 6"/>
                <a:gd name="T4" fmla="*/ 2 w 34"/>
                <a:gd name="T5" fmla="*/ 1 h 6"/>
                <a:gd name="T6" fmla="*/ 3 w 34"/>
                <a:gd name="T7" fmla="*/ 0 h 6"/>
                <a:gd name="T8" fmla="*/ 4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3 h 19"/>
                <a:gd name="T2" fmla="*/ 0 w 1"/>
                <a:gd name="T3" fmla="*/ 1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 w 14"/>
                <a:gd name="T1" fmla="*/ 0 h 6"/>
                <a:gd name="T2" fmla="*/ 1 w 14"/>
                <a:gd name="T3" fmla="*/ 0 h 6"/>
                <a:gd name="T4" fmla="*/ 0 w 14"/>
                <a:gd name="T5" fmla="*/ 1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6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600282" y="5794219"/>
            <a:ext cx="6350" cy="57150"/>
          </a:xfrm>
          <a:custGeom>
            <a:avLst/>
            <a:gdLst>
              <a:gd name="T0" fmla="*/ 775433 w 26"/>
              <a:gd name="T1" fmla="*/ 29424527 h 111"/>
              <a:gd name="T2" fmla="*/ 536819 w 26"/>
              <a:gd name="T3" fmla="*/ 27303799 h 111"/>
              <a:gd name="T4" fmla="*/ 238613 w 26"/>
              <a:gd name="T5" fmla="*/ 25183070 h 111"/>
              <a:gd name="T6" fmla="*/ 119185 w 26"/>
              <a:gd name="T7" fmla="*/ 24122964 h 111"/>
              <a:gd name="T8" fmla="*/ 59592 w 26"/>
              <a:gd name="T9" fmla="*/ 23062342 h 111"/>
              <a:gd name="T10" fmla="*/ 0 w 26"/>
              <a:gd name="T11" fmla="*/ 21206769 h 111"/>
              <a:gd name="T12" fmla="*/ 0 w 26"/>
              <a:gd name="T13" fmla="*/ 19616351 h 111"/>
              <a:gd name="T14" fmla="*/ 0 w 26"/>
              <a:gd name="T15" fmla="*/ 16170361 h 111"/>
              <a:gd name="T16" fmla="*/ 59592 w 26"/>
              <a:gd name="T17" fmla="*/ 13519322 h 111"/>
              <a:gd name="T18" fmla="*/ 179021 w 26"/>
              <a:gd name="T19" fmla="*/ 10868282 h 111"/>
              <a:gd name="T20" fmla="*/ 298206 w 26"/>
              <a:gd name="T21" fmla="*/ 8748069 h 111"/>
              <a:gd name="T22" fmla="*/ 536819 w 26"/>
              <a:gd name="T23" fmla="*/ 6362185 h 111"/>
              <a:gd name="T24" fmla="*/ 835025 w 26"/>
              <a:gd name="T25" fmla="*/ 4506612 h 111"/>
              <a:gd name="T26" fmla="*/ 1193067 w 26"/>
              <a:gd name="T27" fmla="*/ 2385884 h 111"/>
              <a:gd name="T28" fmla="*/ 1550865 w 26"/>
              <a:gd name="T29" fmla="*/ 0 h 111"/>
              <a:gd name="T30" fmla="*/ 1550865 w 26"/>
              <a:gd name="T31" fmla="*/ 1590418 h 111"/>
              <a:gd name="T32" fmla="*/ 1550865 w 26"/>
              <a:gd name="T33" fmla="*/ 3445991 h 111"/>
              <a:gd name="T34" fmla="*/ 1550865 w 26"/>
              <a:gd name="T35" fmla="*/ 5831874 h 111"/>
              <a:gd name="T36" fmla="*/ 1550865 w 26"/>
              <a:gd name="T37" fmla="*/ 8482914 h 111"/>
              <a:gd name="T38" fmla="*/ 1491273 w 26"/>
              <a:gd name="T39" fmla="*/ 11663749 h 111"/>
              <a:gd name="T40" fmla="*/ 1312252 w 26"/>
              <a:gd name="T41" fmla="*/ 14844584 h 111"/>
              <a:gd name="T42" fmla="*/ 1073638 w 26"/>
              <a:gd name="T43" fmla="*/ 17760778 h 111"/>
              <a:gd name="T44" fmla="*/ 775433 w 26"/>
              <a:gd name="T45" fmla="*/ 21206769 h 111"/>
              <a:gd name="T46" fmla="*/ 775433 w 26"/>
              <a:gd name="T47" fmla="*/ 2942452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50510" y="7934169"/>
            <a:ext cx="53975" cy="58738"/>
          </a:xfrm>
          <a:custGeom>
            <a:avLst/>
            <a:gdLst>
              <a:gd name="T0" fmla="*/ 0 w 126"/>
              <a:gd name="T1" fmla="*/ 17052968 h 62"/>
              <a:gd name="T2" fmla="*/ 2018494 w 126"/>
              <a:gd name="T3" fmla="*/ 17951091 h 62"/>
              <a:gd name="T4" fmla="*/ 3853644 w 126"/>
              <a:gd name="T5" fmla="*/ 18848266 h 62"/>
              <a:gd name="T6" fmla="*/ 5321678 w 126"/>
              <a:gd name="T7" fmla="*/ 20643565 h 62"/>
              <a:gd name="T8" fmla="*/ 6605940 w 126"/>
              <a:gd name="T9" fmla="*/ 23336039 h 62"/>
              <a:gd name="T10" fmla="*/ 9175322 w 126"/>
              <a:gd name="T11" fmla="*/ 29619110 h 62"/>
              <a:gd name="T12" fmla="*/ 11193815 w 126"/>
              <a:gd name="T13" fmla="*/ 35901234 h 62"/>
              <a:gd name="T14" fmla="*/ 12845193 w 126"/>
              <a:gd name="T15" fmla="*/ 43082428 h 62"/>
              <a:gd name="T16" fmla="*/ 14496571 w 126"/>
              <a:gd name="T17" fmla="*/ 49364552 h 62"/>
              <a:gd name="T18" fmla="*/ 15414146 w 126"/>
              <a:gd name="T19" fmla="*/ 52057026 h 62"/>
              <a:gd name="T20" fmla="*/ 16331721 w 126"/>
              <a:gd name="T21" fmla="*/ 53852325 h 62"/>
              <a:gd name="T22" fmla="*/ 17432640 w 126"/>
              <a:gd name="T23" fmla="*/ 54750448 h 62"/>
              <a:gd name="T24" fmla="*/ 18350215 w 126"/>
              <a:gd name="T25" fmla="*/ 55647623 h 62"/>
              <a:gd name="T26" fmla="*/ 19267790 w 126"/>
              <a:gd name="T27" fmla="*/ 54750448 h 62"/>
              <a:gd name="T28" fmla="*/ 20002021 w 126"/>
              <a:gd name="T29" fmla="*/ 53852325 h 62"/>
              <a:gd name="T30" fmla="*/ 20735824 w 126"/>
              <a:gd name="T31" fmla="*/ 52057026 h 62"/>
              <a:gd name="T32" fmla="*/ 21470056 w 126"/>
              <a:gd name="T33" fmla="*/ 50262675 h 62"/>
              <a:gd name="T34" fmla="*/ 22387631 w 126"/>
              <a:gd name="T35" fmla="*/ 45774902 h 62"/>
              <a:gd name="T36" fmla="*/ 23121434 w 126"/>
              <a:gd name="T37" fmla="*/ 43979604 h 62"/>
              <a:gd name="T38" fmla="*/ 20185365 w 126"/>
              <a:gd name="T39" fmla="*/ 29619110 h 62"/>
              <a:gd name="T40" fmla="*/ 17616412 w 126"/>
              <a:gd name="T41" fmla="*/ 18848266 h 62"/>
              <a:gd name="T42" fmla="*/ 16331721 w 126"/>
              <a:gd name="T43" fmla="*/ 13463318 h 62"/>
              <a:gd name="T44" fmla="*/ 14863687 w 126"/>
              <a:gd name="T45" fmla="*/ 8077422 h 62"/>
              <a:gd name="T46" fmla="*/ 13212309 w 126"/>
              <a:gd name="T47" fmla="*/ 4487773 h 62"/>
              <a:gd name="T48" fmla="*/ 11193815 w 126"/>
              <a:gd name="T49" fmla="*/ 0 h 62"/>
              <a:gd name="T50" fmla="*/ 0 w 126"/>
              <a:gd name="T51" fmla="*/ 0 h 62"/>
              <a:gd name="T52" fmla="*/ 0 w 126"/>
              <a:gd name="T53" fmla="*/ 8077422 h 62"/>
              <a:gd name="T54" fmla="*/ 0 w 126"/>
              <a:gd name="T55" fmla="*/ 17052968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801769" y="7772244"/>
            <a:ext cx="30163" cy="55563"/>
          </a:xfrm>
          <a:custGeom>
            <a:avLst/>
            <a:gdLst>
              <a:gd name="T0" fmla="*/ 0 w 66"/>
              <a:gd name="T1" fmla="*/ 0 h 44"/>
              <a:gd name="T2" fmla="*/ 2715127 w 66"/>
              <a:gd name="T3" fmla="*/ 1594911 h 44"/>
              <a:gd name="T4" fmla="*/ 4803686 w 66"/>
              <a:gd name="T5" fmla="*/ 3189821 h 44"/>
              <a:gd name="T6" fmla="*/ 6683390 w 66"/>
              <a:gd name="T7" fmla="*/ 6378380 h 44"/>
              <a:gd name="T8" fmla="*/ 7936982 w 66"/>
              <a:gd name="T9" fmla="*/ 11163112 h 44"/>
              <a:gd name="T10" fmla="*/ 9190118 w 66"/>
              <a:gd name="T11" fmla="*/ 14351670 h 44"/>
              <a:gd name="T12" fmla="*/ 10443253 w 66"/>
              <a:gd name="T13" fmla="*/ 17541492 h 44"/>
              <a:gd name="T14" fmla="*/ 11905245 w 66"/>
              <a:gd name="T15" fmla="*/ 19136402 h 44"/>
              <a:gd name="T16" fmla="*/ 13784948 w 66"/>
              <a:gd name="T17" fmla="*/ 20730050 h 44"/>
              <a:gd name="T18" fmla="*/ 13576092 w 66"/>
              <a:gd name="T19" fmla="*/ 27109693 h 44"/>
              <a:gd name="T20" fmla="*/ 12949524 w 66"/>
              <a:gd name="T21" fmla="*/ 33488073 h 44"/>
              <a:gd name="T22" fmla="*/ 12531812 w 66"/>
              <a:gd name="T23" fmla="*/ 39866453 h 44"/>
              <a:gd name="T24" fmla="*/ 11905245 w 66"/>
              <a:gd name="T25" fmla="*/ 44649922 h 44"/>
              <a:gd name="T26" fmla="*/ 10234397 w 66"/>
              <a:gd name="T27" fmla="*/ 54218123 h 44"/>
              <a:gd name="T28" fmla="*/ 8354694 w 66"/>
              <a:gd name="T29" fmla="*/ 62191413 h 44"/>
              <a:gd name="T30" fmla="*/ 6474534 w 66"/>
              <a:gd name="T31" fmla="*/ 66974883 h 44"/>
              <a:gd name="T32" fmla="*/ 4385974 w 66"/>
              <a:gd name="T33" fmla="*/ 70164704 h 44"/>
              <a:gd name="T34" fmla="*/ 2088559 w 66"/>
              <a:gd name="T35" fmla="*/ 70164704 h 44"/>
              <a:gd name="T36" fmla="*/ 0 w 66"/>
              <a:gd name="T37" fmla="*/ 68569793 h 44"/>
              <a:gd name="T38" fmla="*/ 0 w 66"/>
              <a:gd name="T39" fmla="*/ 49434654 h 44"/>
              <a:gd name="T40" fmla="*/ 0 w 66"/>
              <a:gd name="T41" fmla="*/ 35082983 h 44"/>
              <a:gd name="T42" fmla="*/ 0 w 66"/>
              <a:gd name="T43" fmla="*/ 19136402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956007" y="4543269"/>
            <a:ext cx="20637" cy="57150"/>
          </a:xfrm>
          <a:custGeom>
            <a:avLst/>
            <a:gdLst>
              <a:gd name="T0" fmla="*/ 9258386 w 46"/>
              <a:gd name="T1" fmla="*/ 0 h 16"/>
              <a:gd name="T2" fmla="*/ 8050673 w 46"/>
              <a:gd name="T3" fmla="*/ 89307591 h 16"/>
              <a:gd name="T4" fmla="*/ 7044395 w 46"/>
              <a:gd name="T5" fmla="*/ 165856444 h 16"/>
              <a:gd name="T6" fmla="*/ 6239552 w 46"/>
              <a:gd name="T7" fmla="*/ 178615181 h 16"/>
              <a:gd name="T8" fmla="*/ 5836682 w 46"/>
              <a:gd name="T9" fmla="*/ 191373919 h 16"/>
              <a:gd name="T10" fmla="*/ 5232825 w 46"/>
              <a:gd name="T11" fmla="*/ 204132656 h 16"/>
              <a:gd name="T12" fmla="*/ 4629417 w 46"/>
              <a:gd name="T13" fmla="*/ 204132656 h 16"/>
              <a:gd name="T14" fmla="*/ 3220269 w 46"/>
              <a:gd name="T15" fmla="*/ 178615181 h 16"/>
              <a:gd name="T16" fmla="*/ 2213991 w 46"/>
              <a:gd name="T17" fmla="*/ 140342541 h 16"/>
              <a:gd name="T18" fmla="*/ 1006278 w 46"/>
              <a:gd name="T19" fmla="*/ 76548853 h 16"/>
              <a:gd name="T20" fmla="*/ 0 w 46"/>
              <a:gd name="T21" fmla="*/ 0 h 16"/>
              <a:gd name="T22" fmla="*/ 9258386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132219" y="4576607"/>
            <a:ext cx="15875" cy="57150"/>
          </a:xfrm>
          <a:custGeom>
            <a:avLst/>
            <a:gdLst>
              <a:gd name="T0" fmla="*/ 6461939 w 39"/>
              <a:gd name="T1" fmla="*/ 120788723 h 26"/>
              <a:gd name="T2" fmla="*/ 5964929 w 39"/>
              <a:gd name="T3" fmla="*/ 125620096 h 26"/>
              <a:gd name="T4" fmla="*/ 5302250 w 39"/>
              <a:gd name="T5" fmla="*/ 125620096 h 26"/>
              <a:gd name="T6" fmla="*/ 4639163 w 39"/>
              <a:gd name="T7" fmla="*/ 125620096 h 26"/>
              <a:gd name="T8" fmla="*/ 4142154 w 39"/>
              <a:gd name="T9" fmla="*/ 120788723 h 26"/>
              <a:gd name="T10" fmla="*/ 2982465 w 39"/>
              <a:gd name="T11" fmla="*/ 106294604 h 26"/>
              <a:gd name="T12" fmla="*/ 1988446 w 39"/>
              <a:gd name="T13" fmla="*/ 86966913 h 26"/>
              <a:gd name="T14" fmla="*/ 1159689 w 39"/>
              <a:gd name="T15" fmla="*/ 62810048 h 26"/>
              <a:gd name="T16" fmla="*/ 497010 w 39"/>
              <a:gd name="T17" fmla="*/ 33821810 h 26"/>
              <a:gd name="T18" fmla="*/ 165670 w 39"/>
              <a:gd name="T19" fmla="*/ 14494119 h 26"/>
              <a:gd name="T20" fmla="*/ 0 w 39"/>
              <a:gd name="T21" fmla="*/ 0 h 26"/>
              <a:gd name="T22" fmla="*/ 1822776 w 39"/>
              <a:gd name="T23" fmla="*/ 28988238 h 26"/>
              <a:gd name="T24" fmla="*/ 3645144 w 39"/>
              <a:gd name="T25" fmla="*/ 62810048 h 26"/>
              <a:gd name="T26" fmla="*/ 5467920 w 39"/>
              <a:gd name="T27" fmla="*/ 96631858 h 26"/>
              <a:gd name="T28" fmla="*/ 6461939 w 39"/>
              <a:gd name="T29" fmla="*/ 120788723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581357" y="4806794"/>
            <a:ext cx="4762" cy="58738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1 h 25"/>
              <a:gd name="T4" fmla="*/ 1874063 w 11"/>
              <a:gd name="T5" fmla="*/ 66242367 h 25"/>
              <a:gd name="T6" fmla="*/ 1686614 w 11"/>
              <a:gd name="T7" fmla="*/ 110403945 h 25"/>
              <a:gd name="T8" fmla="*/ 749799 w 11"/>
              <a:gd name="T9" fmla="*/ 138006106 h 25"/>
              <a:gd name="T10" fmla="*/ 374899 w 11"/>
              <a:gd name="T11" fmla="*/ 126965711 h 25"/>
              <a:gd name="T12" fmla="*/ 187450 w 11"/>
              <a:gd name="T13" fmla="*/ 110403945 h 25"/>
              <a:gd name="T14" fmla="*/ 0 w 11"/>
              <a:gd name="T15" fmla="*/ 82804133 h 25"/>
              <a:gd name="T16" fmla="*/ 0 w 11"/>
              <a:gd name="T17" fmla="*/ 66242367 h 25"/>
              <a:gd name="T18" fmla="*/ 187450 w 11"/>
              <a:gd name="T19" fmla="*/ 49682950 h 25"/>
              <a:gd name="T20" fmla="*/ 562349 w 11"/>
              <a:gd name="T21" fmla="*/ 27602161 h 25"/>
              <a:gd name="T22" fmla="*/ 1124265 w 11"/>
              <a:gd name="T23" fmla="*/ 11040394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395619" y="5368769"/>
            <a:ext cx="14288" cy="58738"/>
          </a:xfrm>
          <a:custGeom>
            <a:avLst/>
            <a:gdLst>
              <a:gd name="T0" fmla="*/ 10207347 w 20"/>
              <a:gd name="T1" fmla="*/ 0 h 31"/>
              <a:gd name="T2" fmla="*/ 8165592 w 20"/>
              <a:gd name="T3" fmla="*/ 43081481 h 31"/>
              <a:gd name="T4" fmla="*/ 5103674 w 20"/>
              <a:gd name="T5" fmla="*/ 71802468 h 31"/>
              <a:gd name="T6" fmla="*/ 2551837 w 20"/>
              <a:gd name="T7" fmla="*/ 93344156 h 31"/>
              <a:gd name="T8" fmla="*/ 0 w 20"/>
              <a:gd name="T9" fmla="*/ 111295247 h 31"/>
              <a:gd name="T10" fmla="*/ 0 w 20"/>
              <a:gd name="T11" fmla="*/ 89753559 h 31"/>
              <a:gd name="T12" fmla="*/ 510082 w 20"/>
              <a:gd name="T13" fmla="*/ 68213766 h 31"/>
              <a:gd name="T14" fmla="*/ 1020878 w 20"/>
              <a:gd name="T15" fmla="*/ 46672078 h 31"/>
              <a:gd name="T16" fmla="*/ 2551837 w 20"/>
              <a:gd name="T17" fmla="*/ 32311584 h 31"/>
              <a:gd name="T18" fmla="*/ 4082796 w 20"/>
              <a:gd name="T19" fmla="*/ 21541688 h 31"/>
              <a:gd name="T20" fmla="*/ 5613755 w 20"/>
              <a:gd name="T21" fmla="*/ 10769897 h 31"/>
              <a:gd name="T22" fmla="*/ 8165592 w 20"/>
              <a:gd name="T23" fmla="*/ 0 h 31"/>
              <a:gd name="T24" fmla="*/ 102073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413082" y="5303682"/>
            <a:ext cx="15875" cy="57150"/>
          </a:xfrm>
          <a:custGeom>
            <a:avLst/>
            <a:gdLst>
              <a:gd name="T0" fmla="*/ 4846760 w 26"/>
              <a:gd name="T1" fmla="*/ 88273581 h 37"/>
              <a:gd name="T2" fmla="*/ 0 w 26"/>
              <a:gd name="T3" fmla="*/ 28629061 h 37"/>
              <a:gd name="T4" fmla="*/ 2236543 w 26"/>
              <a:gd name="T5" fmla="*/ 16700157 h 37"/>
              <a:gd name="T6" fmla="*/ 4846760 w 26"/>
              <a:gd name="T7" fmla="*/ 9542505 h 37"/>
              <a:gd name="T8" fmla="*/ 7828817 w 26"/>
              <a:gd name="T9" fmla="*/ 2386399 h 37"/>
              <a:gd name="T10" fmla="*/ 9692909 w 26"/>
              <a:gd name="T11" fmla="*/ 0 h 37"/>
              <a:gd name="T12" fmla="*/ 9692909 w 26"/>
              <a:gd name="T13" fmla="*/ 14315303 h 37"/>
              <a:gd name="T14" fmla="*/ 9319846 w 26"/>
              <a:gd name="T15" fmla="*/ 26244207 h 37"/>
              <a:gd name="T16" fmla="*/ 8947394 w 26"/>
              <a:gd name="T17" fmla="*/ 40557965 h 37"/>
              <a:gd name="T18" fmla="*/ 8574332 w 26"/>
              <a:gd name="T19" fmla="*/ 50100470 h 37"/>
              <a:gd name="T20" fmla="*/ 6710240 w 26"/>
              <a:gd name="T21" fmla="*/ 69187026 h 37"/>
              <a:gd name="T22" fmla="*/ 4846760 w 26"/>
              <a:gd name="T23" fmla="*/ 88273581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301957" y="5152869"/>
            <a:ext cx="1587" cy="60325"/>
          </a:xfrm>
          <a:custGeom>
            <a:avLst/>
            <a:gdLst>
              <a:gd name="T0" fmla="*/ 0 w 7"/>
              <a:gd name="T1" fmla="*/ 202172535 h 18"/>
              <a:gd name="T2" fmla="*/ 0 w 7"/>
              <a:gd name="T3" fmla="*/ 0 h 18"/>
              <a:gd name="T4" fmla="*/ 359796 w 7"/>
              <a:gd name="T5" fmla="*/ 134782807 h 18"/>
              <a:gd name="T6" fmla="*/ 0 w 7"/>
              <a:gd name="T7" fmla="*/ 20217253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153944" y="4279744"/>
            <a:ext cx="9525" cy="57150"/>
          </a:xfrm>
          <a:custGeom>
            <a:avLst/>
            <a:gdLst>
              <a:gd name="T0" fmla="*/ 0 w 33"/>
              <a:gd name="T1" fmla="*/ 40784821 h 31"/>
              <a:gd name="T2" fmla="*/ 1582882 w 33"/>
              <a:gd name="T3" fmla="*/ 0 h 31"/>
              <a:gd name="T4" fmla="*/ 1999384 w 33"/>
              <a:gd name="T5" fmla="*/ 16993829 h 31"/>
              <a:gd name="T6" fmla="*/ 2332759 w 33"/>
              <a:gd name="T7" fmla="*/ 40784821 h 31"/>
              <a:gd name="T8" fmla="*/ 2665845 w 33"/>
              <a:gd name="T9" fmla="*/ 74770635 h 31"/>
              <a:gd name="T10" fmla="*/ 2749261 w 33"/>
              <a:gd name="T11" fmla="*/ 105358790 h 31"/>
              <a:gd name="T12" fmla="*/ 2249343 w 33"/>
              <a:gd name="T13" fmla="*/ 101959287 h 31"/>
              <a:gd name="T14" fmla="*/ 1832841 w 33"/>
              <a:gd name="T15" fmla="*/ 95162124 h 31"/>
              <a:gd name="T16" fmla="*/ 1332923 w 33"/>
              <a:gd name="T17" fmla="*/ 84967302 h 31"/>
              <a:gd name="T18" fmla="*/ 916420 w 33"/>
              <a:gd name="T19" fmla="*/ 74770635 h 31"/>
              <a:gd name="T20" fmla="*/ 249959 w 33"/>
              <a:gd name="T21" fmla="*/ 50979644 h 31"/>
              <a:gd name="T22" fmla="*/ 0 w 33"/>
              <a:gd name="T23" fmla="*/ 40784821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139657" y="4047969"/>
            <a:ext cx="3175" cy="57150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50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620794" y="5825969"/>
            <a:ext cx="25400" cy="55563"/>
          </a:xfrm>
          <a:custGeom>
            <a:avLst/>
            <a:gdLst>
              <a:gd name="T0" fmla="*/ 10934915 w 59"/>
              <a:gd name="T1" fmla="*/ 19274984 h 31"/>
              <a:gd name="T2" fmla="*/ 10564247 w 59"/>
              <a:gd name="T3" fmla="*/ 35338068 h 31"/>
              <a:gd name="T4" fmla="*/ 9822912 w 59"/>
              <a:gd name="T5" fmla="*/ 48187460 h 31"/>
              <a:gd name="T6" fmla="*/ 9081576 w 59"/>
              <a:gd name="T7" fmla="*/ 61038644 h 31"/>
              <a:gd name="T8" fmla="*/ 8340241 w 59"/>
              <a:gd name="T9" fmla="*/ 77101728 h 31"/>
              <a:gd name="T10" fmla="*/ 7413356 w 59"/>
              <a:gd name="T11" fmla="*/ 86739220 h 31"/>
              <a:gd name="T12" fmla="*/ 6672020 w 59"/>
              <a:gd name="T13" fmla="*/ 93163020 h 31"/>
              <a:gd name="T14" fmla="*/ 5560017 w 59"/>
              <a:gd name="T15" fmla="*/ 99588612 h 31"/>
              <a:gd name="T16" fmla="*/ 4818681 w 59"/>
              <a:gd name="T17" fmla="*/ 99588612 h 31"/>
              <a:gd name="T18" fmla="*/ 3892227 w 59"/>
              <a:gd name="T19" fmla="*/ 99588612 h 31"/>
              <a:gd name="T20" fmla="*/ 3150892 w 59"/>
              <a:gd name="T21" fmla="*/ 96376712 h 31"/>
              <a:gd name="T22" fmla="*/ 2594675 w 59"/>
              <a:gd name="T23" fmla="*/ 93163020 h 31"/>
              <a:gd name="T24" fmla="*/ 2038888 w 59"/>
              <a:gd name="T25" fmla="*/ 86739220 h 31"/>
              <a:gd name="T26" fmla="*/ 741336 w 59"/>
              <a:gd name="T27" fmla="*/ 64250544 h 31"/>
              <a:gd name="T28" fmla="*/ 0 w 59"/>
              <a:gd name="T29" fmla="*/ 38549968 h 31"/>
              <a:gd name="T30" fmla="*/ 185549 w 59"/>
              <a:gd name="T31" fmla="*/ 28912476 h 31"/>
              <a:gd name="T32" fmla="*/ 556217 w 59"/>
              <a:gd name="T33" fmla="*/ 19274984 h 31"/>
              <a:gd name="T34" fmla="*/ 926885 w 59"/>
              <a:gd name="T35" fmla="*/ 12849392 h 31"/>
              <a:gd name="T36" fmla="*/ 1482671 w 59"/>
              <a:gd name="T37" fmla="*/ 9637492 h 31"/>
              <a:gd name="T38" fmla="*/ 2965342 w 59"/>
              <a:gd name="T39" fmla="*/ 3211900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425592 h 31"/>
              <a:gd name="T46" fmla="*/ 9452244 w 59"/>
              <a:gd name="T47" fmla="*/ 12849392 h 31"/>
              <a:gd name="T48" fmla="*/ 10934915 w 59"/>
              <a:gd name="T49" fmla="*/ 1927498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323932" y="5687857"/>
            <a:ext cx="19050" cy="58737"/>
          </a:xfrm>
          <a:custGeom>
            <a:avLst/>
            <a:gdLst>
              <a:gd name="T0" fmla="*/ 2299781 w 47"/>
              <a:gd name="T1" fmla="*/ 0 h 68"/>
              <a:gd name="T2" fmla="*/ 1314450 w 47"/>
              <a:gd name="T3" fmla="*/ 7461327 h 68"/>
              <a:gd name="T4" fmla="*/ 657022 w 47"/>
              <a:gd name="T5" fmla="*/ 14176348 h 68"/>
              <a:gd name="T6" fmla="*/ 328714 w 47"/>
              <a:gd name="T7" fmla="*/ 20891369 h 68"/>
              <a:gd name="T8" fmla="*/ 0 w 47"/>
              <a:gd name="T9" fmla="*/ 27606390 h 68"/>
              <a:gd name="T10" fmla="*/ 0 w 47"/>
              <a:gd name="T11" fmla="*/ 31337053 h 68"/>
              <a:gd name="T12" fmla="*/ 328714 w 47"/>
              <a:gd name="T13" fmla="*/ 35067717 h 68"/>
              <a:gd name="T14" fmla="*/ 492868 w 47"/>
              <a:gd name="T15" fmla="*/ 38052074 h 68"/>
              <a:gd name="T16" fmla="*/ 821582 w 47"/>
              <a:gd name="T17" fmla="*/ 41036432 h 68"/>
              <a:gd name="T18" fmla="*/ 1149890 w 47"/>
              <a:gd name="T19" fmla="*/ 43274485 h 68"/>
              <a:gd name="T20" fmla="*/ 1478604 w 47"/>
              <a:gd name="T21" fmla="*/ 44767096 h 68"/>
              <a:gd name="T22" fmla="*/ 2135627 w 47"/>
              <a:gd name="T23" fmla="*/ 46258843 h 68"/>
              <a:gd name="T24" fmla="*/ 2628495 w 47"/>
              <a:gd name="T25" fmla="*/ 47751453 h 68"/>
              <a:gd name="T26" fmla="*/ 3614231 w 47"/>
              <a:gd name="T27" fmla="*/ 49989506 h 68"/>
              <a:gd name="T28" fmla="*/ 5092835 w 47"/>
              <a:gd name="T29" fmla="*/ 50735811 h 68"/>
              <a:gd name="T30" fmla="*/ 6406880 w 47"/>
              <a:gd name="T31" fmla="*/ 50735811 h 68"/>
              <a:gd name="T32" fmla="*/ 7721330 w 47"/>
              <a:gd name="T33" fmla="*/ 50735811 h 68"/>
              <a:gd name="T34" fmla="*/ 6735594 w 47"/>
              <a:gd name="T35" fmla="*/ 43274485 h 68"/>
              <a:gd name="T36" fmla="*/ 6242726 w 47"/>
              <a:gd name="T37" fmla="*/ 35813158 h 68"/>
              <a:gd name="T38" fmla="*/ 5914012 w 47"/>
              <a:gd name="T39" fmla="*/ 32083359 h 68"/>
              <a:gd name="T40" fmla="*/ 5749857 w 47"/>
              <a:gd name="T41" fmla="*/ 28352695 h 68"/>
              <a:gd name="T42" fmla="*/ 5421549 w 47"/>
              <a:gd name="T43" fmla="*/ 23129421 h 68"/>
              <a:gd name="T44" fmla="*/ 5421549 w 47"/>
              <a:gd name="T45" fmla="*/ 18652453 h 68"/>
              <a:gd name="T46" fmla="*/ 3942945 w 47"/>
              <a:gd name="T47" fmla="*/ 9699379 h 68"/>
              <a:gd name="T48" fmla="*/ 2299781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7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6095457" y="5875182"/>
            <a:ext cx="46037" cy="374650"/>
            <a:chOff x="3950" y="2430"/>
            <a:chExt cx="36" cy="234"/>
          </a:xfrm>
          <a:solidFill>
            <a:srgbClr val="DDC9A3"/>
          </a:solidFill>
        </p:grpSpPr>
        <p:sp>
          <p:nvSpPr>
            <p:cNvPr id="17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2 w 20"/>
                <a:gd name="T1" fmla="*/ 2 h 18"/>
                <a:gd name="T2" fmla="*/ 2 w 20"/>
                <a:gd name="T3" fmla="*/ 0 h 18"/>
                <a:gd name="T4" fmla="*/ 0 w 20"/>
                <a:gd name="T5" fmla="*/ 0 h 18"/>
                <a:gd name="T6" fmla="*/ 2 w 20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160794" y="6375244"/>
            <a:ext cx="185738" cy="214313"/>
            <a:chOff x="5486" y="2743"/>
            <a:chExt cx="137" cy="132"/>
          </a:xfrm>
          <a:solidFill>
            <a:srgbClr val="DDC9A3"/>
          </a:solidFill>
        </p:grpSpPr>
        <p:sp>
          <p:nvSpPr>
            <p:cNvPr id="20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 h 87"/>
                <a:gd name="T2" fmla="*/ 0 w 40"/>
                <a:gd name="T3" fmla="*/ 5 h 87"/>
                <a:gd name="T4" fmla="*/ 0 w 40"/>
                <a:gd name="T5" fmla="*/ 5 h 87"/>
                <a:gd name="T6" fmla="*/ 1 w 40"/>
                <a:gd name="T7" fmla="*/ 6 h 87"/>
                <a:gd name="T8" fmla="*/ 1 w 40"/>
                <a:gd name="T9" fmla="*/ 7 h 87"/>
                <a:gd name="T10" fmla="*/ 2 w 40"/>
                <a:gd name="T11" fmla="*/ 7 h 87"/>
                <a:gd name="T12" fmla="*/ 2 w 40"/>
                <a:gd name="T13" fmla="*/ 8 h 87"/>
                <a:gd name="T14" fmla="*/ 3 w 40"/>
                <a:gd name="T15" fmla="*/ 8 h 87"/>
                <a:gd name="T16" fmla="*/ 4 w 40"/>
                <a:gd name="T17" fmla="*/ 9 h 87"/>
                <a:gd name="T18" fmla="*/ 4 w 40"/>
                <a:gd name="T19" fmla="*/ 8 h 87"/>
                <a:gd name="T20" fmla="*/ 3 w 40"/>
                <a:gd name="T21" fmla="*/ 8 h 87"/>
                <a:gd name="T22" fmla="*/ 3 w 40"/>
                <a:gd name="T23" fmla="*/ 7 h 87"/>
                <a:gd name="T24" fmla="*/ 3 w 40"/>
                <a:gd name="T25" fmla="*/ 7 h 87"/>
                <a:gd name="T26" fmla="*/ 2 w 40"/>
                <a:gd name="T27" fmla="*/ 5 h 87"/>
                <a:gd name="T28" fmla="*/ 2 w 40"/>
                <a:gd name="T29" fmla="*/ 4 h 87"/>
                <a:gd name="T30" fmla="*/ 2 w 40"/>
                <a:gd name="T31" fmla="*/ 3 h 87"/>
                <a:gd name="T32" fmla="*/ 1 w 40"/>
                <a:gd name="T33" fmla="*/ 2 h 87"/>
                <a:gd name="T34" fmla="*/ 1 w 40"/>
                <a:gd name="T35" fmla="*/ 1 h 87"/>
                <a:gd name="T36" fmla="*/ 1 w 40"/>
                <a:gd name="T37" fmla="*/ 1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1 h 87"/>
                <a:gd name="T44" fmla="*/ 0 w 40"/>
                <a:gd name="T45" fmla="*/ 2 h 87"/>
                <a:gd name="T46" fmla="*/ 0 w 40"/>
                <a:gd name="T47" fmla="*/ 2 h 87"/>
                <a:gd name="T48" fmla="*/ 0 w 40"/>
                <a:gd name="T49" fmla="*/ 3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 h 37"/>
                <a:gd name="T2" fmla="*/ 2 w 61"/>
                <a:gd name="T3" fmla="*/ 3 h 37"/>
                <a:gd name="T4" fmla="*/ 4 w 61"/>
                <a:gd name="T5" fmla="*/ 4 h 37"/>
                <a:gd name="T6" fmla="*/ 5 w 61"/>
                <a:gd name="T7" fmla="*/ 4 h 37"/>
                <a:gd name="T8" fmla="*/ 7 w 61"/>
                <a:gd name="T9" fmla="*/ 4 h 37"/>
                <a:gd name="T10" fmla="*/ 6 w 61"/>
                <a:gd name="T11" fmla="*/ 3 h 37"/>
                <a:gd name="T12" fmla="*/ 5 w 61"/>
                <a:gd name="T13" fmla="*/ 2 h 37"/>
                <a:gd name="T14" fmla="*/ 5 w 61"/>
                <a:gd name="T15" fmla="*/ 2 h 37"/>
                <a:gd name="T16" fmla="*/ 4 w 61"/>
                <a:gd name="T17" fmla="*/ 1 h 37"/>
                <a:gd name="T18" fmla="*/ 3 w 61"/>
                <a:gd name="T19" fmla="*/ 1 h 37"/>
                <a:gd name="T20" fmla="*/ 2 w 61"/>
                <a:gd name="T21" fmla="*/ 1 h 37"/>
                <a:gd name="T22" fmla="*/ 1 w 61"/>
                <a:gd name="T23" fmla="*/ 0 h 37"/>
                <a:gd name="T24" fmla="*/ 0 w 61"/>
                <a:gd name="T25" fmla="*/ 0 h 37"/>
                <a:gd name="T26" fmla="*/ 0 w 61"/>
                <a:gd name="T27" fmla="*/ 3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 w 40"/>
                <a:gd name="T1" fmla="*/ 3 h 30"/>
                <a:gd name="T2" fmla="*/ 4 w 40"/>
                <a:gd name="T3" fmla="*/ 3 h 30"/>
                <a:gd name="T4" fmla="*/ 3 w 40"/>
                <a:gd name="T5" fmla="*/ 3 h 30"/>
                <a:gd name="T6" fmla="*/ 2 w 40"/>
                <a:gd name="T7" fmla="*/ 2 h 30"/>
                <a:gd name="T8" fmla="*/ 2 w 40"/>
                <a:gd name="T9" fmla="*/ 2 h 30"/>
                <a:gd name="T10" fmla="*/ 1 w 40"/>
                <a:gd name="T11" fmla="*/ 2 h 30"/>
                <a:gd name="T12" fmla="*/ 1 w 40"/>
                <a:gd name="T13" fmla="*/ 1 h 30"/>
                <a:gd name="T14" fmla="*/ 0 w 40"/>
                <a:gd name="T15" fmla="*/ 1 h 30"/>
                <a:gd name="T16" fmla="*/ 0 w 40"/>
                <a:gd name="T17" fmla="*/ 0 h 30"/>
                <a:gd name="T18" fmla="*/ 1 w 40"/>
                <a:gd name="T19" fmla="*/ 0 h 30"/>
                <a:gd name="T20" fmla="*/ 2 w 40"/>
                <a:gd name="T21" fmla="*/ 1 h 30"/>
                <a:gd name="T22" fmla="*/ 2 w 40"/>
                <a:gd name="T23" fmla="*/ 1 h 30"/>
                <a:gd name="T24" fmla="*/ 3 w 40"/>
                <a:gd name="T25" fmla="*/ 2 h 30"/>
                <a:gd name="T26" fmla="*/ 4 w 40"/>
                <a:gd name="T27" fmla="*/ 2 h 30"/>
                <a:gd name="T28" fmla="*/ 4 w 40"/>
                <a:gd name="T29" fmla="*/ 3 h 30"/>
                <a:gd name="T30" fmla="*/ 4 w 40"/>
                <a:gd name="T31" fmla="*/ 3 h 30"/>
                <a:gd name="T32" fmla="*/ 4 w 40"/>
                <a:gd name="T33" fmla="*/ 3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8 w 74"/>
                <a:gd name="T1" fmla="*/ 8 h 80"/>
                <a:gd name="T2" fmla="*/ 7 w 74"/>
                <a:gd name="T3" fmla="*/ 8 h 80"/>
                <a:gd name="T4" fmla="*/ 7 w 74"/>
                <a:gd name="T5" fmla="*/ 7 h 80"/>
                <a:gd name="T6" fmla="*/ 7 w 74"/>
                <a:gd name="T7" fmla="*/ 7 h 80"/>
                <a:gd name="T8" fmla="*/ 7 w 74"/>
                <a:gd name="T9" fmla="*/ 6 h 80"/>
                <a:gd name="T10" fmla="*/ 6 w 74"/>
                <a:gd name="T11" fmla="*/ 5 h 80"/>
                <a:gd name="T12" fmla="*/ 5 w 74"/>
                <a:gd name="T13" fmla="*/ 4 h 80"/>
                <a:gd name="T14" fmla="*/ 4 w 74"/>
                <a:gd name="T15" fmla="*/ 3 h 80"/>
                <a:gd name="T16" fmla="*/ 3 w 74"/>
                <a:gd name="T17" fmla="*/ 2 h 80"/>
                <a:gd name="T18" fmla="*/ 2 w 74"/>
                <a:gd name="T19" fmla="*/ 1 h 80"/>
                <a:gd name="T20" fmla="*/ 1 w 74"/>
                <a:gd name="T21" fmla="*/ 0 h 80"/>
                <a:gd name="T22" fmla="*/ 1 w 74"/>
                <a:gd name="T23" fmla="*/ 1 h 80"/>
                <a:gd name="T24" fmla="*/ 0 w 74"/>
                <a:gd name="T25" fmla="*/ 1 h 80"/>
                <a:gd name="T26" fmla="*/ 0 w 74"/>
                <a:gd name="T27" fmla="*/ 2 h 80"/>
                <a:gd name="T28" fmla="*/ 0 w 74"/>
                <a:gd name="T29" fmla="*/ 2 h 80"/>
                <a:gd name="T30" fmla="*/ 0 w 74"/>
                <a:gd name="T31" fmla="*/ 3 h 80"/>
                <a:gd name="T32" fmla="*/ 0 w 74"/>
                <a:gd name="T33" fmla="*/ 3 h 80"/>
                <a:gd name="T34" fmla="*/ 0 w 74"/>
                <a:gd name="T35" fmla="*/ 4 h 80"/>
                <a:gd name="T36" fmla="*/ 1 w 74"/>
                <a:gd name="T37" fmla="*/ 4 h 80"/>
                <a:gd name="T38" fmla="*/ 1 w 74"/>
                <a:gd name="T39" fmla="*/ 5 h 80"/>
                <a:gd name="T40" fmla="*/ 2 w 74"/>
                <a:gd name="T41" fmla="*/ 6 h 80"/>
                <a:gd name="T42" fmla="*/ 2 w 74"/>
                <a:gd name="T43" fmla="*/ 6 h 80"/>
                <a:gd name="T44" fmla="*/ 3 w 74"/>
                <a:gd name="T45" fmla="*/ 7 h 80"/>
                <a:gd name="T46" fmla="*/ 3 w 74"/>
                <a:gd name="T47" fmla="*/ 7 h 80"/>
                <a:gd name="T48" fmla="*/ 4 w 74"/>
                <a:gd name="T49" fmla="*/ 7 h 80"/>
                <a:gd name="T50" fmla="*/ 5 w 74"/>
                <a:gd name="T51" fmla="*/ 7 h 80"/>
                <a:gd name="T52" fmla="*/ 5 w 74"/>
                <a:gd name="T53" fmla="*/ 8 h 80"/>
                <a:gd name="T54" fmla="*/ 6 w 74"/>
                <a:gd name="T55" fmla="*/ 8 h 80"/>
                <a:gd name="T56" fmla="*/ 6 w 74"/>
                <a:gd name="T57" fmla="*/ 8 h 80"/>
                <a:gd name="T58" fmla="*/ 7 w 74"/>
                <a:gd name="T59" fmla="*/ 8 h 80"/>
                <a:gd name="T60" fmla="*/ 8 w 74"/>
                <a:gd name="T61" fmla="*/ 8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 w 86"/>
                <a:gd name="T1" fmla="*/ 9 h 80"/>
                <a:gd name="T2" fmla="*/ 8 w 86"/>
                <a:gd name="T3" fmla="*/ 9 h 80"/>
                <a:gd name="T4" fmla="*/ 8 w 86"/>
                <a:gd name="T5" fmla="*/ 7 h 80"/>
                <a:gd name="T6" fmla="*/ 7 w 86"/>
                <a:gd name="T7" fmla="*/ 7 h 80"/>
                <a:gd name="T8" fmla="*/ 7 w 86"/>
                <a:gd name="T9" fmla="*/ 6 h 80"/>
                <a:gd name="T10" fmla="*/ 6 w 86"/>
                <a:gd name="T11" fmla="*/ 6 h 80"/>
                <a:gd name="T12" fmla="*/ 5 w 86"/>
                <a:gd name="T13" fmla="*/ 6 h 80"/>
                <a:gd name="T14" fmla="*/ 5 w 86"/>
                <a:gd name="T15" fmla="*/ 5 h 80"/>
                <a:gd name="T16" fmla="*/ 4 w 86"/>
                <a:gd name="T17" fmla="*/ 4 h 80"/>
                <a:gd name="T18" fmla="*/ 3 w 86"/>
                <a:gd name="T19" fmla="*/ 3 h 80"/>
                <a:gd name="T20" fmla="*/ 2 w 86"/>
                <a:gd name="T21" fmla="*/ 2 h 80"/>
                <a:gd name="T22" fmla="*/ 1 w 86"/>
                <a:gd name="T23" fmla="*/ 1 h 80"/>
                <a:gd name="T24" fmla="*/ 0 w 86"/>
                <a:gd name="T25" fmla="*/ 0 h 80"/>
                <a:gd name="T26" fmla="*/ 0 w 86"/>
                <a:gd name="T27" fmla="*/ 1 h 80"/>
                <a:gd name="T28" fmla="*/ 1 w 86"/>
                <a:gd name="T29" fmla="*/ 2 h 80"/>
                <a:gd name="T30" fmla="*/ 1 w 86"/>
                <a:gd name="T31" fmla="*/ 4 h 80"/>
                <a:gd name="T32" fmla="*/ 2 w 86"/>
                <a:gd name="T33" fmla="*/ 5 h 80"/>
                <a:gd name="T34" fmla="*/ 2 w 86"/>
                <a:gd name="T35" fmla="*/ 6 h 80"/>
                <a:gd name="T36" fmla="*/ 3 w 86"/>
                <a:gd name="T37" fmla="*/ 8 h 80"/>
                <a:gd name="T38" fmla="*/ 4 w 86"/>
                <a:gd name="T39" fmla="*/ 8 h 80"/>
                <a:gd name="T40" fmla="*/ 4 w 86"/>
                <a:gd name="T41" fmla="*/ 9 h 80"/>
                <a:gd name="T42" fmla="*/ 5 w 86"/>
                <a:gd name="T43" fmla="*/ 9 h 80"/>
                <a:gd name="T44" fmla="*/ 5 w 86"/>
                <a:gd name="T45" fmla="*/ 9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1 h 31"/>
                <a:gd name="T2" fmla="*/ 0 w 74"/>
                <a:gd name="T3" fmla="*/ 1 h 31"/>
                <a:gd name="T4" fmla="*/ 1 w 74"/>
                <a:gd name="T5" fmla="*/ 2 h 31"/>
                <a:gd name="T6" fmla="*/ 1 w 74"/>
                <a:gd name="T7" fmla="*/ 2 h 31"/>
                <a:gd name="T8" fmla="*/ 2 w 74"/>
                <a:gd name="T9" fmla="*/ 2 h 31"/>
                <a:gd name="T10" fmla="*/ 2 w 74"/>
                <a:gd name="T11" fmla="*/ 3 h 31"/>
                <a:gd name="T12" fmla="*/ 3 w 74"/>
                <a:gd name="T13" fmla="*/ 3 h 31"/>
                <a:gd name="T14" fmla="*/ 3 w 74"/>
                <a:gd name="T15" fmla="*/ 4 h 31"/>
                <a:gd name="T16" fmla="*/ 4 w 74"/>
                <a:gd name="T17" fmla="*/ 4 h 31"/>
                <a:gd name="T18" fmla="*/ 5 w 74"/>
                <a:gd name="T19" fmla="*/ 4 h 31"/>
                <a:gd name="T20" fmla="*/ 7 w 74"/>
                <a:gd name="T21" fmla="*/ 4 h 31"/>
                <a:gd name="T22" fmla="*/ 7 w 74"/>
                <a:gd name="T23" fmla="*/ 4 h 31"/>
                <a:gd name="T24" fmla="*/ 8 w 74"/>
                <a:gd name="T25" fmla="*/ 4 h 31"/>
                <a:gd name="T26" fmla="*/ 8 w 74"/>
                <a:gd name="T27" fmla="*/ 4 h 31"/>
                <a:gd name="T28" fmla="*/ 8 w 74"/>
                <a:gd name="T29" fmla="*/ 3 h 31"/>
                <a:gd name="T30" fmla="*/ 7 w 74"/>
                <a:gd name="T31" fmla="*/ 2 h 31"/>
                <a:gd name="T32" fmla="*/ 6 w 74"/>
                <a:gd name="T33" fmla="*/ 2 h 31"/>
                <a:gd name="T34" fmla="*/ 6 w 74"/>
                <a:gd name="T35" fmla="*/ 1 h 31"/>
                <a:gd name="T36" fmla="*/ 5 w 74"/>
                <a:gd name="T37" fmla="*/ 1 h 31"/>
                <a:gd name="T38" fmla="*/ 5 w 74"/>
                <a:gd name="T39" fmla="*/ 1 h 31"/>
                <a:gd name="T40" fmla="*/ 5 w 74"/>
                <a:gd name="T41" fmla="*/ 0 h 31"/>
                <a:gd name="T42" fmla="*/ 4 w 74"/>
                <a:gd name="T43" fmla="*/ 0 h 31"/>
                <a:gd name="T44" fmla="*/ 3 w 74"/>
                <a:gd name="T45" fmla="*/ 0 h 31"/>
                <a:gd name="T46" fmla="*/ 2 w 74"/>
                <a:gd name="T47" fmla="*/ 0 h 31"/>
                <a:gd name="T48" fmla="*/ 2 w 74"/>
                <a:gd name="T49" fmla="*/ 0 h 31"/>
                <a:gd name="T50" fmla="*/ 2 w 74"/>
                <a:gd name="T51" fmla="*/ 0 h 31"/>
                <a:gd name="T52" fmla="*/ 1 w 74"/>
                <a:gd name="T53" fmla="*/ 0 h 31"/>
                <a:gd name="T54" fmla="*/ 1 w 74"/>
                <a:gd name="T55" fmla="*/ 0 h 31"/>
                <a:gd name="T56" fmla="*/ 0 w 74"/>
                <a:gd name="T57" fmla="*/ 1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 w 20"/>
                <a:gd name="T1" fmla="*/ 0 h 1"/>
                <a:gd name="T2" fmla="*/ 0 w 20"/>
                <a:gd name="T3" fmla="*/ 0 h 1"/>
                <a:gd name="T4" fmla="*/ 1 w 20"/>
                <a:gd name="T5" fmla="*/ 0 h 1"/>
                <a:gd name="T6" fmla="*/ 2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1 w 100"/>
                <a:gd name="T1" fmla="*/ 3 h 65"/>
                <a:gd name="T2" fmla="*/ 4 w 100"/>
                <a:gd name="T3" fmla="*/ 4 h 65"/>
                <a:gd name="T4" fmla="*/ 6 w 100"/>
                <a:gd name="T5" fmla="*/ 6 h 65"/>
                <a:gd name="T6" fmla="*/ 7 w 100"/>
                <a:gd name="T7" fmla="*/ 6 h 65"/>
                <a:gd name="T8" fmla="*/ 9 w 100"/>
                <a:gd name="T9" fmla="*/ 7 h 65"/>
                <a:gd name="T10" fmla="*/ 9 w 100"/>
                <a:gd name="T11" fmla="*/ 7 h 65"/>
                <a:gd name="T12" fmla="*/ 9 w 100"/>
                <a:gd name="T13" fmla="*/ 7 h 65"/>
                <a:gd name="T14" fmla="*/ 10 w 100"/>
                <a:gd name="T15" fmla="*/ 7 h 65"/>
                <a:gd name="T16" fmla="*/ 10 w 100"/>
                <a:gd name="T17" fmla="*/ 6 h 65"/>
                <a:gd name="T18" fmla="*/ 10 w 100"/>
                <a:gd name="T19" fmla="*/ 6 h 65"/>
                <a:gd name="T20" fmla="*/ 9 w 100"/>
                <a:gd name="T21" fmla="*/ 6 h 65"/>
                <a:gd name="T22" fmla="*/ 9 w 100"/>
                <a:gd name="T23" fmla="*/ 5 h 65"/>
                <a:gd name="T24" fmla="*/ 8 w 100"/>
                <a:gd name="T25" fmla="*/ 5 h 65"/>
                <a:gd name="T26" fmla="*/ 7 w 100"/>
                <a:gd name="T27" fmla="*/ 4 h 65"/>
                <a:gd name="T28" fmla="*/ 6 w 100"/>
                <a:gd name="T29" fmla="*/ 2 h 65"/>
                <a:gd name="T30" fmla="*/ 5 w 100"/>
                <a:gd name="T31" fmla="*/ 2 h 65"/>
                <a:gd name="T32" fmla="*/ 5 w 100"/>
                <a:gd name="T33" fmla="*/ 1 h 65"/>
                <a:gd name="T34" fmla="*/ 4 w 100"/>
                <a:gd name="T35" fmla="*/ 0 h 65"/>
                <a:gd name="T36" fmla="*/ 4 w 100"/>
                <a:gd name="T37" fmla="*/ 0 h 65"/>
                <a:gd name="T38" fmla="*/ 3 w 100"/>
                <a:gd name="T39" fmla="*/ 0 h 65"/>
                <a:gd name="T40" fmla="*/ 2 w 100"/>
                <a:gd name="T41" fmla="*/ 0 h 65"/>
                <a:gd name="T42" fmla="*/ 1 w 100"/>
                <a:gd name="T43" fmla="*/ 0 h 65"/>
                <a:gd name="T44" fmla="*/ 0 w 100"/>
                <a:gd name="T45" fmla="*/ 1 h 65"/>
                <a:gd name="T46" fmla="*/ 1 w 100"/>
                <a:gd name="T47" fmla="*/ 3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 w 79"/>
                <a:gd name="T1" fmla="*/ 9 h 104"/>
                <a:gd name="T2" fmla="*/ 5 w 79"/>
                <a:gd name="T3" fmla="*/ 7 h 104"/>
                <a:gd name="T4" fmla="*/ 4 w 79"/>
                <a:gd name="T5" fmla="*/ 4 h 104"/>
                <a:gd name="T6" fmla="*/ 3 w 79"/>
                <a:gd name="T7" fmla="*/ 2 h 104"/>
                <a:gd name="T8" fmla="*/ 1 w 79"/>
                <a:gd name="T9" fmla="*/ 0 h 104"/>
                <a:gd name="T10" fmla="*/ 1 w 79"/>
                <a:gd name="T11" fmla="*/ 2 h 104"/>
                <a:gd name="T12" fmla="*/ 0 w 79"/>
                <a:gd name="T13" fmla="*/ 4 h 104"/>
                <a:gd name="T14" fmla="*/ 0 w 79"/>
                <a:gd name="T15" fmla="*/ 4 h 104"/>
                <a:gd name="T16" fmla="*/ 0 w 79"/>
                <a:gd name="T17" fmla="*/ 5 h 104"/>
                <a:gd name="T18" fmla="*/ 0 w 79"/>
                <a:gd name="T19" fmla="*/ 6 h 104"/>
                <a:gd name="T20" fmla="*/ 0 w 79"/>
                <a:gd name="T21" fmla="*/ 7 h 104"/>
                <a:gd name="T22" fmla="*/ 0 w 79"/>
                <a:gd name="T23" fmla="*/ 7 h 104"/>
                <a:gd name="T24" fmla="*/ 0 w 79"/>
                <a:gd name="T25" fmla="*/ 8 h 104"/>
                <a:gd name="T26" fmla="*/ 1 w 79"/>
                <a:gd name="T27" fmla="*/ 9 h 104"/>
                <a:gd name="T28" fmla="*/ 1 w 79"/>
                <a:gd name="T29" fmla="*/ 9 h 104"/>
                <a:gd name="T30" fmla="*/ 1 w 79"/>
                <a:gd name="T31" fmla="*/ 9 h 104"/>
                <a:gd name="T32" fmla="*/ 2 w 79"/>
                <a:gd name="T33" fmla="*/ 9 h 104"/>
                <a:gd name="T34" fmla="*/ 2 w 79"/>
                <a:gd name="T35" fmla="*/ 10 h 104"/>
                <a:gd name="T36" fmla="*/ 3 w 79"/>
                <a:gd name="T37" fmla="*/ 10 h 104"/>
                <a:gd name="T38" fmla="*/ 4 w 79"/>
                <a:gd name="T39" fmla="*/ 10 h 104"/>
                <a:gd name="T40" fmla="*/ 5 w 79"/>
                <a:gd name="T41" fmla="*/ 10 h 104"/>
                <a:gd name="T42" fmla="*/ 6 w 79"/>
                <a:gd name="T43" fmla="*/ 11 h 104"/>
                <a:gd name="T44" fmla="*/ 7 w 79"/>
                <a:gd name="T45" fmla="*/ 11 h 104"/>
                <a:gd name="T46" fmla="*/ 7 w 79"/>
                <a:gd name="T47" fmla="*/ 9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1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506369" y="6113307"/>
            <a:ext cx="11113" cy="55562"/>
          </a:xfrm>
          <a:custGeom>
            <a:avLst/>
            <a:gdLst>
              <a:gd name="T0" fmla="*/ 4574028 w 27"/>
              <a:gd name="T1" fmla="*/ 0 h 19"/>
              <a:gd name="T2" fmla="*/ 4574028 w 27"/>
              <a:gd name="T3" fmla="*/ 102620090 h 19"/>
              <a:gd name="T4" fmla="*/ 4574028 w 27"/>
              <a:gd name="T5" fmla="*/ 162480834 h 19"/>
              <a:gd name="T6" fmla="*/ 1524539 w 27"/>
              <a:gd name="T7" fmla="*/ 162480834 h 19"/>
              <a:gd name="T8" fmla="*/ 0 w 27"/>
              <a:gd name="T9" fmla="*/ 162480834 h 19"/>
              <a:gd name="T10" fmla="*/ 1524539 w 27"/>
              <a:gd name="T11" fmla="*/ 102620090 h 19"/>
              <a:gd name="T12" fmla="*/ 4574028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430169" y="6253007"/>
            <a:ext cx="14288" cy="57150"/>
          </a:xfrm>
          <a:custGeom>
            <a:avLst/>
            <a:gdLst>
              <a:gd name="T0" fmla="*/ 0 w 39"/>
              <a:gd name="T1" fmla="*/ 0 h 35"/>
              <a:gd name="T2" fmla="*/ 5234537 w 39"/>
              <a:gd name="T3" fmla="*/ 0 h 35"/>
              <a:gd name="T4" fmla="*/ 4831909 w 39"/>
              <a:gd name="T5" fmla="*/ 23996469 h 35"/>
              <a:gd name="T6" fmla="*/ 4429280 w 39"/>
              <a:gd name="T7" fmla="*/ 50657760 h 35"/>
              <a:gd name="T8" fmla="*/ 3624023 w 39"/>
              <a:gd name="T9" fmla="*/ 74654229 h 35"/>
              <a:gd name="T10" fmla="*/ 2952853 w 39"/>
              <a:gd name="T11" fmla="*/ 90651330 h 35"/>
              <a:gd name="T12" fmla="*/ 2550225 w 39"/>
              <a:gd name="T13" fmla="*/ 93317786 h 35"/>
              <a:gd name="T14" fmla="*/ 2147596 w 39"/>
              <a:gd name="T15" fmla="*/ 93317786 h 35"/>
              <a:gd name="T16" fmla="*/ 1744968 w 39"/>
              <a:gd name="T17" fmla="*/ 90651330 h 35"/>
              <a:gd name="T18" fmla="*/ 1476427 w 39"/>
              <a:gd name="T19" fmla="*/ 82653596 h 35"/>
              <a:gd name="T20" fmla="*/ 939711 w 39"/>
              <a:gd name="T21" fmla="*/ 69321317 h 35"/>
              <a:gd name="T22" fmla="*/ 671170 w 39"/>
              <a:gd name="T23" fmla="*/ 53324216 h 35"/>
              <a:gd name="T24" fmla="*/ 268541 w 39"/>
              <a:gd name="T25" fmla="*/ 293277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228807" y="4579782"/>
            <a:ext cx="728662" cy="331787"/>
          </a:xfrm>
          <a:custGeom>
            <a:avLst/>
            <a:gdLst>
              <a:gd name="T0" fmla="*/ 5962683 w 1688"/>
              <a:gd name="T1" fmla="*/ 59909146 h 630"/>
              <a:gd name="T2" fmla="*/ 16025384 w 1688"/>
              <a:gd name="T3" fmla="*/ 69061727 h 630"/>
              <a:gd name="T4" fmla="*/ 28882729 w 1688"/>
              <a:gd name="T5" fmla="*/ 73222231 h 630"/>
              <a:gd name="T6" fmla="*/ 35590908 w 1688"/>
              <a:gd name="T7" fmla="*/ 77937293 h 630"/>
              <a:gd name="T8" fmla="*/ 44349097 w 1688"/>
              <a:gd name="T9" fmla="*/ 91804936 h 630"/>
              <a:gd name="T10" fmla="*/ 47144172 w 1688"/>
              <a:gd name="T11" fmla="*/ 96797014 h 630"/>
              <a:gd name="T12" fmla="*/ 47330655 w 1688"/>
              <a:gd name="T13" fmla="*/ 107059239 h 630"/>
              <a:gd name="T14" fmla="*/ 50870795 w 1688"/>
              <a:gd name="T15" fmla="*/ 113161486 h 630"/>
              <a:gd name="T16" fmla="*/ 63542089 w 1688"/>
              <a:gd name="T17" fmla="*/ 115380246 h 630"/>
              <a:gd name="T18" fmla="*/ 86275653 w 1688"/>
              <a:gd name="T19" fmla="*/ 125364928 h 630"/>
              <a:gd name="T20" fmla="*/ 101742022 w 1688"/>
              <a:gd name="T21" fmla="*/ 130079990 h 630"/>
              <a:gd name="T22" fmla="*/ 107145689 w 1688"/>
              <a:gd name="T23" fmla="*/ 141451331 h 630"/>
              <a:gd name="T24" fmla="*/ 115903879 w 1688"/>
              <a:gd name="T25" fmla="*/ 150326897 h 630"/>
              <a:gd name="T26" fmla="*/ 124848118 w 1688"/>
              <a:gd name="T27" fmla="*/ 153932842 h 630"/>
              <a:gd name="T28" fmla="*/ 170874261 w 1688"/>
              <a:gd name="T29" fmla="*/ 159757020 h 630"/>
              <a:gd name="T30" fmla="*/ 193235292 w 1688"/>
              <a:gd name="T31" fmla="*/ 170296787 h 630"/>
              <a:gd name="T32" fmla="*/ 208142214 w 1688"/>
              <a:gd name="T33" fmla="*/ 174734307 h 630"/>
              <a:gd name="T34" fmla="*/ 215595891 w 1688"/>
              <a:gd name="T35" fmla="*/ 170019245 h 630"/>
              <a:gd name="T36" fmla="*/ 250441734 w 1688"/>
              <a:gd name="T37" fmla="*/ 156428618 h 630"/>
              <a:gd name="T38" fmla="*/ 259944988 w 1688"/>
              <a:gd name="T39" fmla="*/ 141451331 h 630"/>
              <a:gd name="T40" fmla="*/ 261435983 w 1688"/>
              <a:gd name="T41" fmla="*/ 133962951 h 630"/>
              <a:gd name="T42" fmla="*/ 258267943 w 1688"/>
              <a:gd name="T43" fmla="*/ 126197029 h 630"/>
              <a:gd name="T44" fmla="*/ 255286386 w 1688"/>
              <a:gd name="T45" fmla="*/ 115102703 h 630"/>
              <a:gd name="T46" fmla="*/ 279324462 w 1688"/>
              <a:gd name="T47" fmla="*/ 109278525 h 630"/>
              <a:gd name="T48" fmla="*/ 297026891 w 1688"/>
              <a:gd name="T49" fmla="*/ 95133339 h 630"/>
              <a:gd name="T50" fmla="*/ 307648176 w 1688"/>
              <a:gd name="T51" fmla="*/ 90140735 h 630"/>
              <a:gd name="T52" fmla="*/ 314542838 w 1688"/>
              <a:gd name="T53" fmla="*/ 82374812 h 630"/>
              <a:gd name="T54" fmla="*/ 308580155 w 1688"/>
              <a:gd name="T55" fmla="*/ 77382208 h 630"/>
              <a:gd name="T56" fmla="*/ 301685493 w 1688"/>
              <a:gd name="T57" fmla="*/ 69893828 h 630"/>
              <a:gd name="T58" fmla="*/ 294976882 w 1688"/>
              <a:gd name="T59" fmla="*/ 68784185 h 630"/>
              <a:gd name="T60" fmla="*/ 289386732 w 1688"/>
              <a:gd name="T61" fmla="*/ 71558030 h 630"/>
              <a:gd name="T62" fmla="*/ 278951930 w 1688"/>
              <a:gd name="T63" fmla="*/ 71002945 h 630"/>
              <a:gd name="T64" fmla="*/ 271498253 w 1688"/>
              <a:gd name="T65" fmla="*/ 65178766 h 630"/>
              <a:gd name="T66" fmla="*/ 267212183 w 1688"/>
              <a:gd name="T67" fmla="*/ 51865681 h 630"/>
              <a:gd name="T68" fmla="*/ 254727371 w 1688"/>
              <a:gd name="T69" fmla="*/ 34392092 h 630"/>
              <a:gd name="T70" fmla="*/ 239633967 w 1688"/>
              <a:gd name="T71" fmla="*/ 33282976 h 630"/>
              <a:gd name="T72" fmla="*/ 234788883 w 1688"/>
              <a:gd name="T73" fmla="*/ 40771356 h 630"/>
              <a:gd name="T74" fmla="*/ 230316763 w 1688"/>
              <a:gd name="T75" fmla="*/ 45763960 h 630"/>
              <a:gd name="T76" fmla="*/ 217645900 w 1688"/>
              <a:gd name="T77" fmla="*/ 46318518 h 630"/>
              <a:gd name="T78" fmla="*/ 194539372 w 1688"/>
              <a:gd name="T79" fmla="*/ 46318518 h 630"/>
              <a:gd name="T80" fmla="*/ 183731605 w 1688"/>
              <a:gd name="T81" fmla="*/ 38829612 h 630"/>
              <a:gd name="T82" fmla="*/ 171805808 w 1688"/>
              <a:gd name="T83" fmla="*/ 29954573 h 630"/>
              <a:gd name="T84" fmla="*/ 158761982 w 1688"/>
              <a:gd name="T85" fmla="*/ 27735813 h 630"/>
              <a:gd name="T86" fmla="*/ 149258727 w 1688"/>
              <a:gd name="T87" fmla="*/ 31618774 h 630"/>
              <a:gd name="T88" fmla="*/ 137891945 w 1688"/>
              <a:gd name="T89" fmla="*/ 32173333 h 630"/>
              <a:gd name="T90" fmla="*/ 128947705 w 1688"/>
              <a:gd name="T91" fmla="*/ 28012829 h 630"/>
              <a:gd name="T92" fmla="*/ 123357556 w 1688"/>
              <a:gd name="T93" fmla="*/ 18860248 h 630"/>
              <a:gd name="T94" fmla="*/ 83108045 w 1688"/>
              <a:gd name="T95" fmla="*/ 1941744 h 630"/>
              <a:gd name="T96" fmla="*/ 83108045 w 1688"/>
              <a:gd name="T97" fmla="*/ 12203442 h 630"/>
              <a:gd name="T98" fmla="*/ 87766216 w 1688"/>
              <a:gd name="T99" fmla="*/ 21911108 h 630"/>
              <a:gd name="T100" fmla="*/ 91306788 w 1688"/>
              <a:gd name="T101" fmla="*/ 29399488 h 630"/>
              <a:gd name="T102" fmla="*/ 57206442 w 1688"/>
              <a:gd name="T103" fmla="*/ 33837534 h 630"/>
              <a:gd name="T104" fmla="*/ 54784332 w 1688"/>
              <a:gd name="T105" fmla="*/ 24129868 h 630"/>
              <a:gd name="T106" fmla="*/ 41926555 w 1688"/>
              <a:gd name="T107" fmla="*/ 26903713 h 630"/>
              <a:gd name="T108" fmla="*/ 34472878 w 1688"/>
              <a:gd name="T109" fmla="*/ 24407410 h 630"/>
              <a:gd name="T110" fmla="*/ 25715121 w 1688"/>
              <a:gd name="T111" fmla="*/ 26903713 h 630"/>
              <a:gd name="T112" fmla="*/ 12671294 w 1688"/>
              <a:gd name="T113" fmla="*/ 39661713 h 630"/>
              <a:gd name="T114" fmla="*/ 5776632 w 1688"/>
              <a:gd name="T115" fmla="*/ 41880999 h 630"/>
              <a:gd name="T116" fmla="*/ 745497 w 1688"/>
              <a:gd name="T117" fmla="*/ 4687307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555332" y="6546694"/>
            <a:ext cx="328612" cy="415925"/>
          </a:xfrm>
          <a:custGeom>
            <a:avLst/>
            <a:gdLst>
              <a:gd name="T0" fmla="*/ 4886695 w 758"/>
              <a:gd name="T1" fmla="*/ 21897013 h 795"/>
              <a:gd name="T2" fmla="*/ 9209373 w 758"/>
              <a:gd name="T3" fmla="*/ 24086504 h 795"/>
              <a:gd name="T4" fmla="*/ 13532051 w 758"/>
              <a:gd name="T5" fmla="*/ 29561019 h 795"/>
              <a:gd name="T6" fmla="*/ 16538981 w 758"/>
              <a:gd name="T7" fmla="*/ 36677784 h 795"/>
              <a:gd name="T8" fmla="*/ 17478864 w 758"/>
              <a:gd name="T9" fmla="*/ 46257661 h 795"/>
              <a:gd name="T10" fmla="*/ 15787249 w 758"/>
              <a:gd name="T11" fmla="*/ 50910790 h 795"/>
              <a:gd name="T12" fmla="*/ 15223666 w 758"/>
              <a:gd name="T13" fmla="*/ 56111160 h 795"/>
              <a:gd name="T14" fmla="*/ 16538981 w 758"/>
              <a:gd name="T15" fmla="*/ 65691038 h 795"/>
              <a:gd name="T16" fmla="*/ 17854730 w 758"/>
              <a:gd name="T17" fmla="*/ 76092302 h 795"/>
              <a:gd name="T18" fmla="*/ 15599532 w 758"/>
              <a:gd name="T19" fmla="*/ 84303551 h 795"/>
              <a:gd name="T20" fmla="*/ 15223666 w 758"/>
              <a:gd name="T21" fmla="*/ 96347064 h 795"/>
              <a:gd name="T22" fmla="*/ 17478864 w 758"/>
              <a:gd name="T23" fmla="*/ 106748328 h 795"/>
              <a:gd name="T24" fmla="*/ 18606462 w 758"/>
              <a:gd name="T25" fmla="*/ 113590949 h 795"/>
              <a:gd name="T26" fmla="*/ 14659650 w 758"/>
              <a:gd name="T27" fmla="*/ 125086697 h 795"/>
              <a:gd name="T28" fmla="*/ 21237526 w 758"/>
              <a:gd name="T29" fmla="*/ 144794218 h 795"/>
              <a:gd name="T30" fmla="*/ 25936071 w 758"/>
              <a:gd name="T31" fmla="*/ 157932739 h 795"/>
              <a:gd name="T32" fmla="*/ 27439969 w 758"/>
              <a:gd name="T33" fmla="*/ 170249874 h 795"/>
              <a:gd name="T34" fmla="*/ 28567568 w 758"/>
              <a:gd name="T35" fmla="*/ 180376994 h 795"/>
              <a:gd name="T36" fmla="*/ 35145444 w 758"/>
              <a:gd name="T37" fmla="*/ 202000385 h 795"/>
              <a:gd name="T38" fmla="*/ 40219854 w 758"/>
              <a:gd name="T39" fmla="*/ 214043899 h 795"/>
              <a:gd name="T40" fmla="*/ 43227218 w 758"/>
              <a:gd name="T41" fmla="*/ 217328399 h 795"/>
              <a:gd name="T42" fmla="*/ 47174030 w 758"/>
              <a:gd name="T43" fmla="*/ 216233391 h 795"/>
              <a:gd name="T44" fmla="*/ 54315922 w 758"/>
              <a:gd name="T45" fmla="*/ 208295763 h 795"/>
              <a:gd name="T46" fmla="*/ 60893798 w 758"/>
              <a:gd name="T47" fmla="*/ 204189877 h 795"/>
              <a:gd name="T48" fmla="*/ 66719941 w 758"/>
              <a:gd name="T49" fmla="*/ 204737643 h 795"/>
              <a:gd name="T50" fmla="*/ 72922384 w 758"/>
              <a:gd name="T51" fmla="*/ 210759399 h 795"/>
              <a:gd name="T52" fmla="*/ 78560378 w 758"/>
              <a:gd name="T53" fmla="*/ 213496134 h 795"/>
              <a:gd name="T54" fmla="*/ 82131324 w 758"/>
              <a:gd name="T55" fmla="*/ 207474377 h 795"/>
              <a:gd name="T56" fmla="*/ 89837232 w 758"/>
              <a:gd name="T57" fmla="*/ 203916256 h 795"/>
              <a:gd name="T58" fmla="*/ 98670739 w 758"/>
              <a:gd name="T59" fmla="*/ 170249874 h 795"/>
              <a:gd name="T60" fmla="*/ 101301802 w 758"/>
              <a:gd name="T61" fmla="*/ 164228117 h 795"/>
              <a:gd name="T62" fmla="*/ 108067828 w 758"/>
              <a:gd name="T63" fmla="*/ 159848610 h 795"/>
              <a:gd name="T64" fmla="*/ 124982675 w 758"/>
              <a:gd name="T65" fmla="*/ 156837731 h 795"/>
              <a:gd name="T66" fmla="*/ 129117637 w 758"/>
              <a:gd name="T67" fmla="*/ 158479981 h 795"/>
              <a:gd name="T68" fmla="*/ 132312717 w 758"/>
              <a:gd name="T69" fmla="*/ 160122231 h 795"/>
              <a:gd name="T70" fmla="*/ 139830475 w 758"/>
              <a:gd name="T71" fmla="*/ 156837731 h 795"/>
              <a:gd name="T72" fmla="*/ 142273389 w 758"/>
              <a:gd name="T73" fmla="*/ 148078717 h 795"/>
              <a:gd name="T74" fmla="*/ 141333940 w 758"/>
              <a:gd name="T75" fmla="*/ 136582969 h 795"/>
              <a:gd name="T76" fmla="*/ 136447246 w 758"/>
              <a:gd name="T77" fmla="*/ 126455326 h 795"/>
              <a:gd name="T78" fmla="*/ 133440316 w 758"/>
              <a:gd name="T79" fmla="*/ 119065463 h 795"/>
              <a:gd name="T80" fmla="*/ 126110274 w 758"/>
              <a:gd name="T81" fmla="*/ 109759207 h 795"/>
              <a:gd name="T82" fmla="*/ 118968382 w 758"/>
              <a:gd name="T83" fmla="*/ 109211441 h 795"/>
              <a:gd name="T84" fmla="*/ 113706255 w 758"/>
              <a:gd name="T85" fmla="*/ 103463829 h 795"/>
              <a:gd name="T86" fmla="*/ 110887041 w 758"/>
              <a:gd name="T87" fmla="*/ 95525678 h 795"/>
              <a:gd name="T88" fmla="*/ 109947159 w 758"/>
              <a:gd name="T89" fmla="*/ 85124937 h 795"/>
              <a:gd name="T90" fmla="*/ 109571293 w 758"/>
              <a:gd name="T91" fmla="*/ 73628665 h 795"/>
              <a:gd name="T92" fmla="*/ 105248614 w 758"/>
              <a:gd name="T93" fmla="*/ 66238803 h 795"/>
              <a:gd name="T94" fmla="*/ 94535776 w 758"/>
              <a:gd name="T95" fmla="*/ 56111160 h 795"/>
              <a:gd name="T96" fmla="*/ 82695340 w 758"/>
              <a:gd name="T97" fmla="*/ 48720774 h 795"/>
              <a:gd name="T98" fmla="*/ 73674117 w 758"/>
              <a:gd name="T99" fmla="*/ 45709896 h 795"/>
              <a:gd name="T100" fmla="*/ 67471674 w 758"/>
              <a:gd name="T101" fmla="*/ 44067646 h 795"/>
              <a:gd name="T102" fmla="*/ 62021397 w 758"/>
              <a:gd name="T103" fmla="*/ 39688662 h 795"/>
              <a:gd name="T104" fmla="*/ 57698718 w 758"/>
              <a:gd name="T105" fmla="*/ 33392761 h 795"/>
              <a:gd name="T106" fmla="*/ 54879505 w 758"/>
              <a:gd name="T107" fmla="*/ 25181512 h 795"/>
              <a:gd name="T108" fmla="*/ 52436157 w 758"/>
              <a:gd name="T109" fmla="*/ 5200370 h 795"/>
              <a:gd name="T110" fmla="*/ 49053361 w 758"/>
              <a:gd name="T111" fmla="*/ 821386 h 795"/>
              <a:gd name="T112" fmla="*/ 42663202 w 758"/>
              <a:gd name="T113" fmla="*/ 821386 h 795"/>
              <a:gd name="T114" fmla="*/ 32514380 w 758"/>
              <a:gd name="T115" fmla="*/ 8211249 h 795"/>
              <a:gd name="T116" fmla="*/ 22365125 w 758"/>
              <a:gd name="T117" fmla="*/ 18065271 h 795"/>
              <a:gd name="T118" fmla="*/ 0 w 758"/>
              <a:gd name="T119" fmla="*/ 21897013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769644" y="5976782"/>
            <a:ext cx="119063" cy="215900"/>
          </a:xfrm>
          <a:custGeom>
            <a:avLst/>
            <a:gdLst>
              <a:gd name="T0" fmla="*/ 42796825 w 273"/>
              <a:gd name="T1" fmla="*/ 38074539 h 414"/>
              <a:gd name="T2" fmla="*/ 40514130 w 273"/>
              <a:gd name="T3" fmla="*/ 36170551 h 414"/>
              <a:gd name="T4" fmla="*/ 38231871 w 273"/>
              <a:gd name="T5" fmla="*/ 32907019 h 414"/>
              <a:gd name="T6" fmla="*/ 36139328 w 273"/>
              <a:gd name="T7" fmla="*/ 28555643 h 414"/>
              <a:gd name="T8" fmla="*/ 34807828 w 273"/>
              <a:gd name="T9" fmla="*/ 26108255 h 414"/>
              <a:gd name="T10" fmla="*/ 33476765 w 273"/>
              <a:gd name="T11" fmla="*/ 25292111 h 414"/>
              <a:gd name="T12" fmla="*/ 31764526 w 273"/>
              <a:gd name="T13" fmla="*/ 25564333 h 414"/>
              <a:gd name="T14" fmla="*/ 30623614 w 273"/>
              <a:gd name="T15" fmla="*/ 27467799 h 414"/>
              <a:gd name="T16" fmla="*/ 29101963 w 273"/>
              <a:gd name="T17" fmla="*/ 23388645 h 414"/>
              <a:gd name="T18" fmla="*/ 27009420 w 273"/>
              <a:gd name="T19" fmla="*/ 14685893 h 414"/>
              <a:gd name="T20" fmla="*/ 25107465 w 273"/>
              <a:gd name="T21" fmla="*/ 9790596 h 414"/>
              <a:gd name="T22" fmla="*/ 23395661 w 273"/>
              <a:gd name="T23" fmla="*/ 6798764 h 414"/>
              <a:gd name="T24" fmla="*/ 21112966 w 273"/>
              <a:gd name="T25" fmla="*/ 3807454 h 414"/>
              <a:gd name="T26" fmla="*/ 18259816 w 273"/>
              <a:gd name="T27" fmla="*/ 1359544 h 414"/>
              <a:gd name="T28" fmla="*/ 15216513 w 273"/>
              <a:gd name="T29" fmla="*/ 1903466 h 414"/>
              <a:gd name="T30" fmla="*/ 13124406 w 273"/>
              <a:gd name="T31" fmla="*/ 5166998 h 414"/>
              <a:gd name="T32" fmla="*/ 11983059 w 273"/>
              <a:gd name="T33" fmla="*/ 6798764 h 414"/>
              <a:gd name="T34" fmla="*/ 10841711 w 273"/>
              <a:gd name="T35" fmla="*/ 8702752 h 414"/>
              <a:gd name="T36" fmla="*/ 10651559 w 273"/>
              <a:gd name="T37" fmla="*/ 11422362 h 414"/>
              <a:gd name="T38" fmla="*/ 11031863 w 273"/>
              <a:gd name="T39" fmla="*/ 16045438 h 414"/>
              <a:gd name="T40" fmla="*/ 9890952 w 273"/>
              <a:gd name="T41" fmla="*/ 21212957 h 414"/>
              <a:gd name="T42" fmla="*/ 6276757 w 273"/>
              <a:gd name="T43" fmla="*/ 24476489 h 414"/>
              <a:gd name="T44" fmla="*/ 3233455 w 273"/>
              <a:gd name="T45" fmla="*/ 28283943 h 414"/>
              <a:gd name="T46" fmla="*/ 761044 w 273"/>
              <a:gd name="T47" fmla="*/ 32091397 h 414"/>
              <a:gd name="T48" fmla="*/ 7608257 w 273"/>
              <a:gd name="T49" fmla="*/ 53848276 h 414"/>
              <a:gd name="T50" fmla="*/ 13885014 w 273"/>
              <a:gd name="T51" fmla="*/ 55751742 h 414"/>
              <a:gd name="T52" fmla="*/ 15977557 w 273"/>
              <a:gd name="T53" fmla="*/ 57111286 h 414"/>
              <a:gd name="T54" fmla="*/ 17689360 w 273"/>
              <a:gd name="T55" fmla="*/ 59286974 h 414"/>
              <a:gd name="T56" fmla="*/ 18830708 w 273"/>
              <a:gd name="T57" fmla="*/ 61462662 h 414"/>
              <a:gd name="T58" fmla="*/ 19591315 w 273"/>
              <a:gd name="T59" fmla="*/ 64454494 h 414"/>
              <a:gd name="T60" fmla="*/ 20162207 w 273"/>
              <a:gd name="T61" fmla="*/ 72069402 h 414"/>
              <a:gd name="T62" fmla="*/ 19591315 w 273"/>
              <a:gd name="T63" fmla="*/ 75876856 h 414"/>
              <a:gd name="T64" fmla="*/ 18259816 w 273"/>
              <a:gd name="T65" fmla="*/ 79684309 h 414"/>
              <a:gd name="T66" fmla="*/ 16928316 w 273"/>
              <a:gd name="T67" fmla="*/ 83491763 h 414"/>
              <a:gd name="T68" fmla="*/ 16357861 w 273"/>
              <a:gd name="T69" fmla="*/ 87299217 h 414"/>
              <a:gd name="T70" fmla="*/ 17309056 w 273"/>
              <a:gd name="T71" fmla="*/ 93282359 h 414"/>
              <a:gd name="T72" fmla="*/ 20352359 w 273"/>
              <a:gd name="T73" fmla="*/ 101712889 h 414"/>
              <a:gd name="T74" fmla="*/ 22254314 w 273"/>
              <a:gd name="T75" fmla="*/ 105792564 h 414"/>
              <a:gd name="T76" fmla="*/ 24537009 w 273"/>
              <a:gd name="T77" fmla="*/ 109056096 h 414"/>
              <a:gd name="T78" fmla="*/ 26819268 w 273"/>
              <a:gd name="T79" fmla="*/ 111775706 h 414"/>
              <a:gd name="T80" fmla="*/ 29101963 w 273"/>
              <a:gd name="T81" fmla="*/ 112591329 h 414"/>
              <a:gd name="T82" fmla="*/ 40894870 w 273"/>
              <a:gd name="T83" fmla="*/ 108239953 h 414"/>
              <a:gd name="T84" fmla="*/ 48503126 w 273"/>
              <a:gd name="T85" fmla="*/ 104704721 h 414"/>
              <a:gd name="T86" fmla="*/ 50785385 w 273"/>
              <a:gd name="T87" fmla="*/ 102529033 h 414"/>
              <a:gd name="T88" fmla="*/ 51926732 w 273"/>
              <a:gd name="T89" fmla="*/ 100625045 h 414"/>
              <a:gd name="T90" fmla="*/ 51165689 w 273"/>
              <a:gd name="T91" fmla="*/ 95729747 h 414"/>
              <a:gd name="T92" fmla="*/ 50024777 w 273"/>
              <a:gd name="T93" fmla="*/ 91106671 h 414"/>
              <a:gd name="T94" fmla="*/ 46030279 w 273"/>
              <a:gd name="T95" fmla="*/ 84035685 h 414"/>
              <a:gd name="T96" fmla="*/ 42225933 w 273"/>
              <a:gd name="T97" fmla="*/ 76692478 h 414"/>
              <a:gd name="T98" fmla="*/ 40894870 w 273"/>
              <a:gd name="T99" fmla="*/ 72341102 h 414"/>
              <a:gd name="T100" fmla="*/ 40323978 w 273"/>
              <a:gd name="T101" fmla="*/ 67174104 h 414"/>
              <a:gd name="T102" fmla="*/ 40894870 w 273"/>
              <a:gd name="T103" fmla="*/ 58471352 h 414"/>
              <a:gd name="T104" fmla="*/ 42225933 w 273"/>
              <a:gd name="T105" fmla="*/ 51672588 h 414"/>
              <a:gd name="T106" fmla="*/ 43747584 w 273"/>
              <a:gd name="T107" fmla="*/ 45417225 h 414"/>
              <a:gd name="T108" fmla="*/ 44128324 w 273"/>
              <a:gd name="T109" fmla="*/ 38618461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22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483894" y="5811682"/>
            <a:ext cx="323850" cy="401637"/>
            <a:chOff x="1486" y="2412"/>
            <a:chExt cx="244" cy="256"/>
          </a:xfrm>
          <a:solidFill>
            <a:srgbClr val="3C5C4F"/>
          </a:solidFill>
        </p:grpSpPr>
        <p:sp>
          <p:nvSpPr>
            <p:cNvPr id="22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2 h 22"/>
                <a:gd name="T4" fmla="*/ 1 w 54"/>
                <a:gd name="T5" fmla="*/ 2 h 22"/>
                <a:gd name="T6" fmla="*/ 1 w 54"/>
                <a:gd name="T7" fmla="*/ 2 h 22"/>
                <a:gd name="T8" fmla="*/ 2 w 54"/>
                <a:gd name="T9" fmla="*/ 2 h 22"/>
                <a:gd name="T10" fmla="*/ 2 w 54"/>
                <a:gd name="T11" fmla="*/ 2 h 22"/>
                <a:gd name="T12" fmla="*/ 3 w 54"/>
                <a:gd name="T13" fmla="*/ 2 h 22"/>
                <a:gd name="T14" fmla="*/ 3 w 54"/>
                <a:gd name="T15" fmla="*/ 2 h 22"/>
                <a:gd name="T16" fmla="*/ 3 w 54"/>
                <a:gd name="T17" fmla="*/ 2 h 22"/>
                <a:gd name="T18" fmla="*/ 4 w 54"/>
                <a:gd name="T19" fmla="*/ 2 h 22"/>
                <a:gd name="T20" fmla="*/ 4 w 54"/>
                <a:gd name="T21" fmla="*/ 2 h 22"/>
                <a:gd name="T22" fmla="*/ 5 w 54"/>
                <a:gd name="T23" fmla="*/ 1 h 22"/>
                <a:gd name="T24" fmla="*/ 5 w 54"/>
                <a:gd name="T25" fmla="*/ 1 h 22"/>
                <a:gd name="T26" fmla="*/ 6 w 54"/>
                <a:gd name="T27" fmla="*/ 1 h 22"/>
                <a:gd name="T28" fmla="*/ 4 w 54"/>
                <a:gd name="T29" fmla="*/ 1 h 22"/>
                <a:gd name="T30" fmla="*/ 2 w 54"/>
                <a:gd name="T31" fmla="*/ 0 h 22"/>
                <a:gd name="T32" fmla="*/ 1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1 w 6"/>
                <a:gd name="T1" fmla="*/ 3 h 24"/>
                <a:gd name="T2" fmla="*/ 1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1 h 24"/>
                <a:gd name="T10" fmla="*/ 0 w 6"/>
                <a:gd name="T11" fmla="*/ 1 h 24"/>
                <a:gd name="T12" fmla="*/ 0 w 6"/>
                <a:gd name="T13" fmla="*/ 2 h 24"/>
                <a:gd name="T14" fmla="*/ 0 w 6"/>
                <a:gd name="T15" fmla="*/ 2 h 24"/>
                <a:gd name="T16" fmla="*/ 0 w 6"/>
                <a:gd name="T17" fmla="*/ 3 h 24"/>
                <a:gd name="T18" fmla="*/ 1 w 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 h 12"/>
                <a:gd name="T2" fmla="*/ 2 w 27"/>
                <a:gd name="T3" fmla="*/ 1 h 12"/>
                <a:gd name="T4" fmla="*/ 1 w 27"/>
                <a:gd name="T5" fmla="*/ 0 h 12"/>
                <a:gd name="T6" fmla="*/ 0 w 27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1 w 743"/>
                <a:gd name="T1" fmla="*/ 23 h 672"/>
                <a:gd name="T2" fmla="*/ 5 w 743"/>
                <a:gd name="T3" fmla="*/ 30 h 672"/>
                <a:gd name="T4" fmla="*/ 13 w 743"/>
                <a:gd name="T5" fmla="*/ 33 h 672"/>
                <a:gd name="T6" fmla="*/ 18 w 743"/>
                <a:gd name="T7" fmla="*/ 35 h 672"/>
                <a:gd name="T8" fmla="*/ 21 w 743"/>
                <a:gd name="T9" fmla="*/ 38 h 672"/>
                <a:gd name="T10" fmla="*/ 32 w 743"/>
                <a:gd name="T11" fmla="*/ 42 h 672"/>
                <a:gd name="T12" fmla="*/ 31 w 743"/>
                <a:gd name="T13" fmla="*/ 47 h 672"/>
                <a:gd name="T14" fmla="*/ 33 w 743"/>
                <a:gd name="T15" fmla="*/ 57 h 672"/>
                <a:gd name="T16" fmla="*/ 33 w 743"/>
                <a:gd name="T17" fmla="*/ 59 h 672"/>
                <a:gd name="T18" fmla="*/ 33 w 743"/>
                <a:gd name="T19" fmla="*/ 63 h 672"/>
                <a:gd name="T20" fmla="*/ 35 w 743"/>
                <a:gd name="T21" fmla="*/ 69 h 672"/>
                <a:gd name="T22" fmla="*/ 40 w 743"/>
                <a:gd name="T23" fmla="*/ 73 h 672"/>
                <a:gd name="T24" fmla="*/ 45 w 743"/>
                <a:gd name="T25" fmla="*/ 75 h 672"/>
                <a:gd name="T26" fmla="*/ 50 w 743"/>
                <a:gd name="T27" fmla="*/ 73 h 672"/>
                <a:gd name="T28" fmla="*/ 55 w 743"/>
                <a:gd name="T29" fmla="*/ 69 h 672"/>
                <a:gd name="T30" fmla="*/ 56 w 743"/>
                <a:gd name="T31" fmla="*/ 65 h 672"/>
                <a:gd name="T32" fmla="*/ 52 w 743"/>
                <a:gd name="T33" fmla="*/ 52 h 672"/>
                <a:gd name="T34" fmla="*/ 62 w 743"/>
                <a:gd name="T35" fmla="*/ 56 h 672"/>
                <a:gd name="T36" fmla="*/ 65 w 743"/>
                <a:gd name="T37" fmla="*/ 53 h 672"/>
                <a:gd name="T38" fmla="*/ 70 w 743"/>
                <a:gd name="T39" fmla="*/ 49 h 672"/>
                <a:gd name="T40" fmla="*/ 72 w 743"/>
                <a:gd name="T41" fmla="*/ 49 h 672"/>
                <a:gd name="T42" fmla="*/ 74 w 743"/>
                <a:gd name="T43" fmla="*/ 48 h 672"/>
                <a:gd name="T44" fmla="*/ 72 w 743"/>
                <a:gd name="T45" fmla="*/ 36 h 672"/>
                <a:gd name="T46" fmla="*/ 77 w 743"/>
                <a:gd name="T47" fmla="*/ 33 h 672"/>
                <a:gd name="T48" fmla="*/ 77 w 743"/>
                <a:gd name="T49" fmla="*/ 28 h 672"/>
                <a:gd name="T50" fmla="*/ 78 w 743"/>
                <a:gd name="T51" fmla="*/ 26 h 672"/>
                <a:gd name="T52" fmla="*/ 78 w 743"/>
                <a:gd name="T53" fmla="*/ 24 h 672"/>
                <a:gd name="T54" fmla="*/ 76 w 743"/>
                <a:gd name="T55" fmla="*/ 22 h 672"/>
                <a:gd name="T56" fmla="*/ 74 w 743"/>
                <a:gd name="T57" fmla="*/ 19 h 672"/>
                <a:gd name="T58" fmla="*/ 72 w 743"/>
                <a:gd name="T59" fmla="*/ 16 h 672"/>
                <a:gd name="T60" fmla="*/ 69 w 743"/>
                <a:gd name="T61" fmla="*/ 17 h 672"/>
                <a:gd name="T62" fmla="*/ 68 w 743"/>
                <a:gd name="T63" fmla="*/ 15 h 672"/>
                <a:gd name="T64" fmla="*/ 65 w 743"/>
                <a:gd name="T65" fmla="*/ 13 h 672"/>
                <a:gd name="T66" fmla="*/ 63 w 743"/>
                <a:gd name="T67" fmla="*/ 11 h 672"/>
                <a:gd name="T68" fmla="*/ 58 w 743"/>
                <a:gd name="T69" fmla="*/ 8 h 672"/>
                <a:gd name="T70" fmla="*/ 53 w 743"/>
                <a:gd name="T71" fmla="*/ 10 h 672"/>
                <a:gd name="T72" fmla="*/ 51 w 743"/>
                <a:gd name="T73" fmla="*/ 11 h 672"/>
                <a:gd name="T74" fmla="*/ 47 w 743"/>
                <a:gd name="T75" fmla="*/ 13 h 672"/>
                <a:gd name="T76" fmla="*/ 45 w 743"/>
                <a:gd name="T77" fmla="*/ 12 h 672"/>
                <a:gd name="T78" fmla="*/ 42 w 743"/>
                <a:gd name="T79" fmla="*/ 11 h 672"/>
                <a:gd name="T80" fmla="*/ 39 w 743"/>
                <a:gd name="T81" fmla="*/ 9 h 672"/>
                <a:gd name="T82" fmla="*/ 34 w 743"/>
                <a:gd name="T83" fmla="*/ 9 h 672"/>
                <a:gd name="T84" fmla="*/ 32 w 743"/>
                <a:gd name="T85" fmla="*/ 10 h 672"/>
                <a:gd name="T86" fmla="*/ 27 w 743"/>
                <a:gd name="T87" fmla="*/ 10 h 672"/>
                <a:gd name="T88" fmla="*/ 25 w 743"/>
                <a:gd name="T89" fmla="*/ 6 h 672"/>
                <a:gd name="T90" fmla="*/ 19 w 743"/>
                <a:gd name="T91" fmla="*/ 2 h 672"/>
                <a:gd name="T92" fmla="*/ 16 w 743"/>
                <a:gd name="T93" fmla="*/ 1 h 672"/>
                <a:gd name="T94" fmla="*/ 15 w 743"/>
                <a:gd name="T95" fmla="*/ 5 h 672"/>
                <a:gd name="T96" fmla="*/ 13 w 743"/>
                <a:gd name="T97" fmla="*/ 8 h 672"/>
                <a:gd name="T98" fmla="*/ 13 w 743"/>
                <a:gd name="T99" fmla="*/ 15 h 672"/>
                <a:gd name="T100" fmla="*/ 11 w 743"/>
                <a:gd name="T101" fmla="*/ 22 h 672"/>
                <a:gd name="T102" fmla="*/ 10 w 743"/>
                <a:gd name="T103" fmla="*/ 21 h 672"/>
                <a:gd name="T104" fmla="*/ 8 w 743"/>
                <a:gd name="T105" fmla="*/ 20 h 672"/>
                <a:gd name="T106" fmla="*/ 6 w 743"/>
                <a:gd name="T107" fmla="*/ 19 h 672"/>
                <a:gd name="T108" fmla="*/ 6 w 743"/>
                <a:gd name="T109" fmla="*/ 13 h 672"/>
                <a:gd name="T110" fmla="*/ 8 w 743"/>
                <a:gd name="T111" fmla="*/ 7 h 672"/>
                <a:gd name="T112" fmla="*/ 11 w 743"/>
                <a:gd name="T113" fmla="*/ 2 h 672"/>
                <a:gd name="T114" fmla="*/ 6 w 743"/>
                <a:gd name="T115" fmla="*/ 3 h 672"/>
                <a:gd name="T116" fmla="*/ 2 w 743"/>
                <a:gd name="T117" fmla="*/ 8 h 672"/>
                <a:gd name="T118" fmla="*/ 0 w 743"/>
                <a:gd name="T119" fmla="*/ 13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2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505157" y="7351557"/>
            <a:ext cx="31750" cy="11112"/>
          </a:xfrm>
          <a:custGeom>
            <a:avLst/>
            <a:gdLst>
              <a:gd name="T0" fmla="*/ 0 w 79"/>
              <a:gd name="T1" fmla="*/ 5368545 h 23"/>
              <a:gd name="T2" fmla="*/ 3553589 w 79"/>
              <a:gd name="T3" fmla="*/ 3034542 h 23"/>
              <a:gd name="T4" fmla="*/ 7268339 w 79"/>
              <a:gd name="T5" fmla="*/ 933891 h 23"/>
              <a:gd name="T6" fmla="*/ 9045133 w 79"/>
              <a:gd name="T7" fmla="*/ 233352 h 23"/>
              <a:gd name="T8" fmla="*/ 10498801 w 79"/>
              <a:gd name="T9" fmla="*/ 0 h 23"/>
              <a:gd name="T10" fmla="*/ 11145054 w 79"/>
              <a:gd name="T11" fmla="*/ 0 h 23"/>
              <a:gd name="T12" fmla="*/ 11952870 w 79"/>
              <a:gd name="T13" fmla="*/ 233352 h 23"/>
              <a:gd name="T14" fmla="*/ 12437158 w 79"/>
              <a:gd name="T15" fmla="*/ 466704 h 23"/>
              <a:gd name="T16" fmla="*/ 12760285 w 79"/>
              <a:gd name="T17" fmla="*/ 933891 h 23"/>
              <a:gd name="T18" fmla="*/ 12437158 w 79"/>
              <a:gd name="T19" fmla="*/ 1867299 h 23"/>
              <a:gd name="T20" fmla="*/ 12114032 w 79"/>
              <a:gd name="T21" fmla="*/ 3034542 h 23"/>
              <a:gd name="T22" fmla="*/ 11629744 w 79"/>
              <a:gd name="T23" fmla="*/ 3734598 h 23"/>
              <a:gd name="T24" fmla="*/ 10983491 w 79"/>
              <a:gd name="T25" fmla="*/ 4434654 h 23"/>
              <a:gd name="T26" fmla="*/ 10337639 w 79"/>
              <a:gd name="T27" fmla="*/ 4901841 h 23"/>
              <a:gd name="T28" fmla="*/ 9529823 w 79"/>
              <a:gd name="T29" fmla="*/ 5135193 h 23"/>
              <a:gd name="T30" fmla="*/ 8560845 w 79"/>
              <a:gd name="T31" fmla="*/ 5368545 h 23"/>
              <a:gd name="T32" fmla="*/ 7429902 w 79"/>
              <a:gd name="T33" fmla="*/ 5368545 h 23"/>
              <a:gd name="T34" fmla="*/ 5976234 w 79"/>
              <a:gd name="T35" fmla="*/ 5368545 h 23"/>
              <a:gd name="T36" fmla="*/ 5168820 w 79"/>
              <a:gd name="T37" fmla="*/ 4901841 h 23"/>
              <a:gd name="T38" fmla="*/ 4199440 w 79"/>
              <a:gd name="T39" fmla="*/ 4668489 h 23"/>
              <a:gd name="T40" fmla="*/ 3715152 w 79"/>
              <a:gd name="T41" fmla="*/ 4434654 h 23"/>
              <a:gd name="T42" fmla="*/ 3068899 w 79"/>
              <a:gd name="T43" fmla="*/ 4201302 h 23"/>
              <a:gd name="T44" fmla="*/ 2261484 w 79"/>
              <a:gd name="T45" fmla="*/ 4201302 h 23"/>
              <a:gd name="T46" fmla="*/ 1453668 w 79"/>
              <a:gd name="T47" fmla="*/ 4668489 h 23"/>
              <a:gd name="T48" fmla="*/ 0 w 79"/>
              <a:gd name="T49" fmla="*/ 5368545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217675" y="7164750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3779441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308163" y="7163162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308163" y="7163162"/>
            <a:ext cx="3175" cy="15875"/>
          </a:xfrm>
          <a:custGeom>
            <a:avLst/>
            <a:gdLst>
              <a:gd name="T0" fmla="*/ 0 w 5"/>
              <a:gd name="T1" fmla="*/ 0 h 30"/>
              <a:gd name="T2" fmla="*/ 806450 w 5"/>
              <a:gd name="T3" fmla="*/ 279929 h 30"/>
              <a:gd name="T4" fmla="*/ 1612900 w 5"/>
              <a:gd name="T5" fmla="*/ 1120246 h 30"/>
              <a:gd name="T6" fmla="*/ 2016125 w 5"/>
              <a:gd name="T7" fmla="*/ 2239963 h 30"/>
              <a:gd name="T8" fmla="*/ 2016125 w 5"/>
              <a:gd name="T9" fmla="*/ 3640137 h 30"/>
              <a:gd name="T10" fmla="*/ 2016125 w 5"/>
              <a:gd name="T11" fmla="*/ 5040313 h 30"/>
              <a:gd name="T12" fmla="*/ 1612900 w 5"/>
              <a:gd name="T13" fmla="*/ 6440488 h 30"/>
              <a:gd name="T14" fmla="*/ 806450 w 5"/>
              <a:gd name="T15" fmla="*/ 7560204 h 30"/>
              <a:gd name="T16" fmla="*/ 0 w 5"/>
              <a:gd name="T17" fmla="*/ 8400521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009982" y="6953094"/>
            <a:ext cx="22225" cy="28575"/>
          </a:xfrm>
          <a:custGeom>
            <a:avLst/>
            <a:gdLst>
              <a:gd name="T0" fmla="*/ 0 w 53"/>
              <a:gd name="T1" fmla="*/ 3239366 h 55"/>
              <a:gd name="T2" fmla="*/ 175703 w 53"/>
              <a:gd name="T3" fmla="*/ 4588625 h 55"/>
              <a:gd name="T4" fmla="*/ 879355 w 53"/>
              <a:gd name="T5" fmla="*/ 5938405 h 55"/>
              <a:gd name="T6" fmla="*/ 1582588 w 53"/>
              <a:gd name="T7" fmla="*/ 7288184 h 55"/>
              <a:gd name="T8" fmla="*/ 2637646 w 53"/>
              <a:gd name="T9" fmla="*/ 8907607 h 55"/>
              <a:gd name="T10" fmla="*/ 4572060 w 53"/>
              <a:gd name="T11" fmla="*/ 11876809 h 55"/>
              <a:gd name="T12" fmla="*/ 5802822 w 53"/>
              <a:gd name="T13" fmla="*/ 14846011 h 55"/>
              <a:gd name="T14" fmla="*/ 9319823 w 53"/>
              <a:gd name="T15" fmla="*/ 14846011 h 55"/>
              <a:gd name="T16" fmla="*/ 7034003 w 53"/>
              <a:gd name="T17" fmla="*/ 11066838 h 55"/>
              <a:gd name="T18" fmla="*/ 4923886 w 53"/>
              <a:gd name="T19" fmla="*/ 7827991 h 55"/>
              <a:gd name="T20" fmla="*/ 4044531 w 53"/>
              <a:gd name="T21" fmla="*/ 6208568 h 55"/>
              <a:gd name="T22" fmla="*/ 3340879 w 53"/>
              <a:gd name="T23" fmla="*/ 4318981 h 55"/>
              <a:gd name="T24" fmla="*/ 2813350 w 53"/>
              <a:gd name="T25" fmla="*/ 2159231 h 55"/>
              <a:gd name="T26" fmla="*/ 2461943 w 53"/>
              <a:gd name="T27" fmla="*/ 0 h 55"/>
              <a:gd name="T28" fmla="*/ 1230762 w 53"/>
              <a:gd name="T29" fmla="*/ 1619423 h 55"/>
              <a:gd name="T30" fmla="*/ 0 w 53"/>
              <a:gd name="T31" fmla="*/ 3239366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016332" y="6880069"/>
            <a:ext cx="26987" cy="39688"/>
          </a:xfrm>
          <a:custGeom>
            <a:avLst/>
            <a:gdLst>
              <a:gd name="T0" fmla="*/ 0 w 65"/>
              <a:gd name="T1" fmla="*/ 8961021 h 75"/>
              <a:gd name="T2" fmla="*/ 1551545 w 65"/>
              <a:gd name="T3" fmla="*/ 12040810 h 75"/>
              <a:gd name="T4" fmla="*/ 3447693 w 65"/>
              <a:gd name="T5" fmla="*/ 15401590 h 75"/>
              <a:gd name="T6" fmla="*/ 4481918 w 65"/>
              <a:gd name="T7" fmla="*/ 17081715 h 75"/>
              <a:gd name="T8" fmla="*/ 5516143 w 65"/>
              <a:gd name="T9" fmla="*/ 18761841 h 75"/>
              <a:gd name="T10" fmla="*/ 6722669 w 65"/>
              <a:gd name="T11" fmla="*/ 19881571 h 75"/>
              <a:gd name="T12" fmla="*/ 7929196 w 65"/>
              <a:gd name="T13" fmla="*/ 21001831 h 75"/>
              <a:gd name="T14" fmla="*/ 8791119 w 65"/>
              <a:gd name="T15" fmla="*/ 17081715 h 75"/>
              <a:gd name="T16" fmla="*/ 9998061 w 65"/>
              <a:gd name="T17" fmla="*/ 13441003 h 75"/>
              <a:gd name="T18" fmla="*/ 10514966 w 65"/>
              <a:gd name="T19" fmla="*/ 11760877 h 75"/>
              <a:gd name="T20" fmla="*/ 10859984 w 65"/>
              <a:gd name="T21" fmla="*/ 10080752 h 75"/>
              <a:gd name="T22" fmla="*/ 11204587 w 65"/>
              <a:gd name="T23" fmla="*/ 8680559 h 75"/>
              <a:gd name="T24" fmla="*/ 11204587 w 65"/>
              <a:gd name="T25" fmla="*/ 7280896 h 75"/>
              <a:gd name="T26" fmla="*/ 11204587 w 65"/>
              <a:gd name="T27" fmla="*/ 5880703 h 75"/>
              <a:gd name="T28" fmla="*/ 10859984 w 65"/>
              <a:gd name="T29" fmla="*/ 5040376 h 75"/>
              <a:gd name="T30" fmla="*/ 10514966 w 65"/>
              <a:gd name="T31" fmla="*/ 3640183 h 75"/>
              <a:gd name="T32" fmla="*/ 9998061 w 65"/>
              <a:gd name="T33" fmla="*/ 2800385 h 75"/>
              <a:gd name="T34" fmla="*/ 8791119 w 65"/>
              <a:gd name="T35" fmla="*/ 1400193 h 75"/>
              <a:gd name="T36" fmla="*/ 7929196 w 65"/>
              <a:gd name="T37" fmla="*/ 0 h 75"/>
              <a:gd name="T38" fmla="*/ 5860746 w 65"/>
              <a:gd name="T39" fmla="*/ 0 h 75"/>
              <a:gd name="T40" fmla="*/ 4481918 w 65"/>
              <a:gd name="T41" fmla="*/ 0 h 75"/>
              <a:gd name="T42" fmla="*/ 4309616 w 65"/>
              <a:gd name="T43" fmla="*/ 559865 h 75"/>
              <a:gd name="T44" fmla="*/ 4136900 w 65"/>
              <a:gd name="T45" fmla="*/ 1960058 h 75"/>
              <a:gd name="T46" fmla="*/ 3964598 w 65"/>
              <a:gd name="T47" fmla="*/ 2520453 h 75"/>
              <a:gd name="T48" fmla="*/ 3964598 w 65"/>
              <a:gd name="T49" fmla="*/ 3080318 h 75"/>
              <a:gd name="T50" fmla="*/ 4136900 w 65"/>
              <a:gd name="T51" fmla="*/ 3360251 h 75"/>
              <a:gd name="T52" fmla="*/ 4481918 w 65"/>
              <a:gd name="T53" fmla="*/ 3640183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992519" y="6856257"/>
            <a:ext cx="17463" cy="30162"/>
          </a:xfrm>
          <a:custGeom>
            <a:avLst/>
            <a:gdLst>
              <a:gd name="T0" fmla="*/ 0 w 40"/>
              <a:gd name="T1" fmla="*/ 14673327 h 62"/>
              <a:gd name="T2" fmla="*/ 571913 w 40"/>
              <a:gd name="T3" fmla="*/ 12306582 h 62"/>
              <a:gd name="T4" fmla="*/ 1334173 w 40"/>
              <a:gd name="T5" fmla="*/ 10176756 h 62"/>
              <a:gd name="T6" fmla="*/ 2287216 w 40"/>
              <a:gd name="T7" fmla="*/ 7810012 h 62"/>
              <a:gd name="T8" fmla="*/ 3240260 w 40"/>
              <a:gd name="T9" fmla="*/ 5916617 h 62"/>
              <a:gd name="T10" fmla="*/ 4383650 w 40"/>
              <a:gd name="T11" fmla="*/ 4023222 h 62"/>
              <a:gd name="T12" fmla="*/ 5527476 w 40"/>
              <a:gd name="T13" fmla="*/ 2129826 h 62"/>
              <a:gd name="T14" fmla="*/ 6670866 w 40"/>
              <a:gd name="T15" fmla="*/ 709780 h 62"/>
              <a:gd name="T16" fmla="*/ 7623909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911557" y="6734019"/>
            <a:ext cx="68262" cy="138113"/>
          </a:xfrm>
          <a:custGeom>
            <a:avLst/>
            <a:gdLst>
              <a:gd name="T0" fmla="*/ 29306293 w 159"/>
              <a:gd name="T1" fmla="*/ 73649424 h 259"/>
              <a:gd name="T2" fmla="*/ 29306293 w 159"/>
              <a:gd name="T3" fmla="*/ 71374559 h 259"/>
              <a:gd name="T4" fmla="*/ 29306293 w 159"/>
              <a:gd name="T5" fmla="*/ 69383918 h 259"/>
              <a:gd name="T6" fmla="*/ 29306293 w 159"/>
              <a:gd name="T7" fmla="*/ 67109053 h 259"/>
              <a:gd name="T8" fmla="*/ 29306293 w 159"/>
              <a:gd name="T9" fmla="*/ 64834188 h 259"/>
              <a:gd name="T10" fmla="*/ 29306293 w 159"/>
              <a:gd name="T11" fmla="*/ 63696756 h 259"/>
              <a:gd name="T12" fmla="*/ 29122115 w 159"/>
              <a:gd name="T13" fmla="*/ 62275098 h 259"/>
              <a:gd name="T14" fmla="*/ 28753328 w 159"/>
              <a:gd name="T15" fmla="*/ 61137666 h 259"/>
              <a:gd name="T16" fmla="*/ 28200363 w 159"/>
              <a:gd name="T17" fmla="*/ 59716008 h 259"/>
              <a:gd name="T18" fmla="*/ 26726076 w 159"/>
              <a:gd name="T19" fmla="*/ 57440610 h 259"/>
              <a:gd name="T20" fmla="*/ 24882572 w 159"/>
              <a:gd name="T21" fmla="*/ 55450503 h 259"/>
              <a:gd name="T22" fmla="*/ 22855320 w 159"/>
              <a:gd name="T23" fmla="*/ 53744088 h 259"/>
              <a:gd name="T24" fmla="*/ 20643459 w 159"/>
              <a:gd name="T25" fmla="*/ 52322430 h 259"/>
              <a:gd name="T26" fmla="*/ 18247420 w 159"/>
              <a:gd name="T27" fmla="*/ 51184998 h 259"/>
              <a:gd name="T28" fmla="*/ 16035560 w 159"/>
              <a:gd name="T29" fmla="*/ 50900773 h 259"/>
              <a:gd name="T30" fmla="*/ 15666773 w 159"/>
              <a:gd name="T31" fmla="*/ 50616015 h 259"/>
              <a:gd name="T32" fmla="*/ 15113808 w 159"/>
              <a:gd name="T33" fmla="*/ 50331790 h 259"/>
              <a:gd name="T34" fmla="*/ 14929629 w 159"/>
              <a:gd name="T35" fmla="*/ 49763340 h 259"/>
              <a:gd name="T36" fmla="*/ 14745451 w 159"/>
              <a:gd name="T37" fmla="*/ 49194357 h 259"/>
              <a:gd name="T38" fmla="*/ 14745451 w 159"/>
              <a:gd name="T39" fmla="*/ 47488475 h 259"/>
              <a:gd name="T40" fmla="*/ 14929629 w 159"/>
              <a:gd name="T41" fmla="*/ 45782060 h 259"/>
              <a:gd name="T42" fmla="*/ 15666773 w 159"/>
              <a:gd name="T43" fmla="*/ 42085537 h 259"/>
              <a:gd name="T44" fmla="*/ 16035560 w 159"/>
              <a:gd name="T45" fmla="*/ 40379122 h 259"/>
              <a:gd name="T46" fmla="*/ 13454912 w 159"/>
              <a:gd name="T47" fmla="*/ 40094897 h 259"/>
              <a:gd name="T48" fmla="*/ 10874695 w 159"/>
              <a:gd name="T49" fmla="*/ 39525914 h 259"/>
              <a:gd name="T50" fmla="*/ 8847013 w 159"/>
              <a:gd name="T51" fmla="*/ 38388482 h 259"/>
              <a:gd name="T52" fmla="*/ 7372725 w 159"/>
              <a:gd name="T53" fmla="*/ 36682599 h 259"/>
              <a:gd name="T54" fmla="*/ 5713830 w 159"/>
              <a:gd name="T55" fmla="*/ 34407734 h 259"/>
              <a:gd name="T56" fmla="*/ 4423721 w 159"/>
              <a:gd name="T57" fmla="*/ 32132869 h 259"/>
              <a:gd name="T58" fmla="*/ 3317791 w 159"/>
              <a:gd name="T59" fmla="*/ 29573779 h 259"/>
              <a:gd name="T60" fmla="*/ 2396039 w 159"/>
              <a:gd name="T61" fmla="*/ 26729931 h 259"/>
              <a:gd name="T62" fmla="*/ 1658895 w 159"/>
              <a:gd name="T63" fmla="*/ 23886083 h 259"/>
              <a:gd name="T64" fmla="*/ 1290109 w 159"/>
              <a:gd name="T65" fmla="*/ 20758544 h 259"/>
              <a:gd name="T66" fmla="*/ 921752 w 159"/>
              <a:gd name="T67" fmla="*/ 17061488 h 259"/>
              <a:gd name="T68" fmla="*/ 368787 w 159"/>
              <a:gd name="T69" fmla="*/ 13649191 h 259"/>
              <a:gd name="T70" fmla="*/ 0 w 159"/>
              <a:gd name="T71" fmla="*/ 7108820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905207" y="6700682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905207" y="6684807"/>
            <a:ext cx="6350" cy="15875"/>
          </a:xfrm>
          <a:custGeom>
            <a:avLst/>
            <a:gdLst>
              <a:gd name="T0" fmla="*/ 0 w 13"/>
              <a:gd name="T1" fmla="*/ 10080625 h 25"/>
              <a:gd name="T2" fmla="*/ 238369 w 13"/>
              <a:gd name="T3" fmla="*/ 7661275 h 25"/>
              <a:gd name="T4" fmla="*/ 954454 w 13"/>
              <a:gd name="T5" fmla="*/ 5241925 h 25"/>
              <a:gd name="T6" fmla="*/ 1908908 w 13"/>
              <a:gd name="T7" fmla="*/ 2419350 h 25"/>
              <a:gd name="T8" fmla="*/ 3101731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911557" y="6672107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865519" y="6605432"/>
            <a:ext cx="46038" cy="66675"/>
          </a:xfrm>
          <a:custGeom>
            <a:avLst/>
            <a:gdLst>
              <a:gd name="T0" fmla="*/ 21194974 w 100"/>
              <a:gd name="T1" fmla="*/ 36142729 h 123"/>
              <a:gd name="T2" fmla="*/ 19075385 w 100"/>
              <a:gd name="T3" fmla="*/ 35848925 h 123"/>
              <a:gd name="T4" fmla="*/ 16108236 w 100"/>
              <a:gd name="T5" fmla="*/ 34967514 h 123"/>
              <a:gd name="T6" fmla="*/ 12717077 w 100"/>
              <a:gd name="T7" fmla="*/ 33497954 h 123"/>
              <a:gd name="T8" fmla="*/ 9113682 w 100"/>
              <a:gd name="T9" fmla="*/ 31441328 h 123"/>
              <a:gd name="T10" fmla="*/ 7206328 w 100"/>
              <a:gd name="T11" fmla="*/ 30266113 h 123"/>
              <a:gd name="T12" fmla="*/ 5722523 w 100"/>
              <a:gd name="T13" fmla="*/ 29090357 h 123"/>
              <a:gd name="T14" fmla="*/ 4239179 w 100"/>
              <a:gd name="T15" fmla="*/ 27621338 h 123"/>
              <a:gd name="T16" fmla="*/ 2755374 w 100"/>
              <a:gd name="T17" fmla="*/ 26152320 h 123"/>
              <a:gd name="T18" fmla="*/ 1695580 w 100"/>
              <a:gd name="T19" fmla="*/ 24682760 h 123"/>
              <a:gd name="T20" fmla="*/ 848020 w 100"/>
              <a:gd name="T21" fmla="*/ 23213741 h 123"/>
              <a:gd name="T22" fmla="*/ 211775 w 100"/>
              <a:gd name="T23" fmla="*/ 21450377 h 123"/>
              <a:gd name="T24" fmla="*/ 0 w 100"/>
              <a:gd name="T25" fmla="*/ 19981359 h 123"/>
              <a:gd name="T26" fmla="*/ 424010 w 100"/>
              <a:gd name="T27" fmla="*/ 16161370 h 123"/>
              <a:gd name="T28" fmla="*/ 1483805 w 100"/>
              <a:gd name="T29" fmla="*/ 10578558 h 123"/>
              <a:gd name="T30" fmla="*/ 2331364 w 100"/>
              <a:gd name="T31" fmla="*/ 4995204 h 123"/>
              <a:gd name="T32" fmla="*/ 2755374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879807" y="6548282"/>
            <a:ext cx="1587" cy="50800"/>
          </a:xfrm>
          <a:custGeom>
            <a:avLst/>
            <a:gdLst>
              <a:gd name="T0" fmla="*/ 503714 w 5"/>
              <a:gd name="T1" fmla="*/ 0 h 99"/>
              <a:gd name="T2" fmla="*/ 403098 w 5"/>
              <a:gd name="T3" fmla="*/ 8952089 h 99"/>
              <a:gd name="T4" fmla="*/ 100616 w 5"/>
              <a:gd name="T5" fmla="*/ 15535051 h 99"/>
              <a:gd name="T6" fmla="*/ 0 w 5"/>
              <a:gd name="T7" fmla="*/ 18167927 h 99"/>
              <a:gd name="T8" fmla="*/ 0 w 5"/>
              <a:gd name="T9" fmla="*/ 20537568 h 99"/>
              <a:gd name="T10" fmla="*/ 201549 w 5"/>
              <a:gd name="T11" fmla="*/ 22907208 h 99"/>
              <a:gd name="T12" fmla="*/ 503714 w 5"/>
              <a:gd name="T13" fmla="*/ 26067071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886157" y="6541932"/>
            <a:ext cx="7937" cy="36512"/>
          </a:xfrm>
          <a:custGeom>
            <a:avLst/>
            <a:gdLst>
              <a:gd name="T0" fmla="*/ 4499712 w 14"/>
              <a:gd name="T1" fmla="*/ 0 h 68"/>
              <a:gd name="T2" fmla="*/ 2571021 w 14"/>
              <a:gd name="T3" fmla="*/ 4612862 h 68"/>
              <a:gd name="T4" fmla="*/ 1285794 w 14"/>
              <a:gd name="T5" fmla="*/ 9514061 h 68"/>
              <a:gd name="T6" fmla="*/ 642897 w 14"/>
              <a:gd name="T7" fmla="*/ 14991935 h 68"/>
              <a:gd name="T8" fmla="*/ 0 w 14"/>
              <a:gd name="T9" fmla="*/ 19604796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902032" y="6522882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3472785 h 43"/>
              <a:gd name="T4" fmla="*/ 0 w 1587"/>
              <a:gd name="T5" fmla="*/ 6945571 h 43"/>
              <a:gd name="T6" fmla="*/ 0 w 1587"/>
              <a:gd name="T7" fmla="*/ 9884440 h 43"/>
              <a:gd name="T8" fmla="*/ 0 w 1587"/>
              <a:gd name="T9" fmla="*/ 11487224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902032" y="6541932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886157" y="6526057"/>
            <a:ext cx="1587" cy="15875"/>
          </a:xfrm>
          <a:custGeom>
            <a:avLst/>
            <a:gdLst>
              <a:gd name="T0" fmla="*/ 0 w 1587"/>
              <a:gd name="T1" fmla="*/ 8129536 h 31"/>
              <a:gd name="T2" fmla="*/ 0 w 1587"/>
              <a:gd name="T3" fmla="*/ 5769282 h 31"/>
              <a:gd name="T4" fmla="*/ 0 w 1587"/>
              <a:gd name="T5" fmla="*/ 3933415 h 31"/>
              <a:gd name="T6" fmla="*/ 0 w 1587"/>
              <a:gd name="T7" fmla="*/ 2098060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203388" y="7194912"/>
            <a:ext cx="96837" cy="87313"/>
          </a:xfrm>
          <a:custGeom>
            <a:avLst/>
            <a:gdLst>
              <a:gd name="T0" fmla="*/ 3519272 w 225"/>
              <a:gd name="T1" fmla="*/ 43190134 h 167"/>
              <a:gd name="T2" fmla="*/ 1296755 w 225"/>
              <a:gd name="T3" fmla="*/ 38816118 h 167"/>
              <a:gd name="T4" fmla="*/ 0 w 225"/>
              <a:gd name="T5" fmla="*/ 35535868 h 167"/>
              <a:gd name="T6" fmla="*/ 185066 w 225"/>
              <a:gd name="T7" fmla="*/ 29522251 h 167"/>
              <a:gd name="T8" fmla="*/ 2037450 w 225"/>
              <a:gd name="T9" fmla="*/ 18588258 h 167"/>
              <a:gd name="T10" fmla="*/ 4445464 w 225"/>
              <a:gd name="T11" fmla="*/ 10660551 h 167"/>
              <a:gd name="T12" fmla="*/ 6297848 w 225"/>
              <a:gd name="T13" fmla="*/ 5740176 h 167"/>
              <a:gd name="T14" fmla="*/ 8150232 w 225"/>
              <a:gd name="T15" fmla="*/ 2459926 h 167"/>
              <a:gd name="T16" fmla="*/ 10002617 w 225"/>
              <a:gd name="T17" fmla="*/ 273441 h 167"/>
              <a:gd name="T18" fmla="*/ 12040067 w 225"/>
              <a:gd name="T19" fmla="*/ 273441 h 167"/>
              <a:gd name="T20" fmla="*/ 14077517 w 225"/>
              <a:gd name="T21" fmla="*/ 819801 h 167"/>
              <a:gd name="T22" fmla="*/ 16300465 w 225"/>
              <a:gd name="T23" fmla="*/ 2187008 h 167"/>
              <a:gd name="T24" fmla="*/ 18523412 w 225"/>
              <a:gd name="T25" fmla="*/ 4646934 h 167"/>
              <a:gd name="T26" fmla="*/ 20745928 w 225"/>
              <a:gd name="T27" fmla="*/ 6560500 h 167"/>
              <a:gd name="T28" fmla="*/ 23709571 w 225"/>
              <a:gd name="T29" fmla="*/ 6560500 h 167"/>
              <a:gd name="T30" fmla="*/ 26858710 w 225"/>
              <a:gd name="T31" fmla="*/ 5193816 h 167"/>
              <a:gd name="T32" fmla="*/ 30563479 w 225"/>
              <a:gd name="T33" fmla="*/ 1913566 h 167"/>
              <a:gd name="T34" fmla="*/ 41677354 w 225"/>
              <a:gd name="T35" fmla="*/ 0 h 167"/>
              <a:gd name="T36" fmla="*/ 39824969 w 225"/>
              <a:gd name="T37" fmla="*/ 6013618 h 167"/>
              <a:gd name="T38" fmla="*/ 37231890 w 225"/>
              <a:gd name="T39" fmla="*/ 11207434 h 167"/>
              <a:gd name="T40" fmla="*/ 31119108 w 225"/>
              <a:gd name="T41" fmla="*/ 19681500 h 167"/>
              <a:gd name="T42" fmla="*/ 25561955 w 225"/>
              <a:gd name="T43" fmla="*/ 27335243 h 167"/>
              <a:gd name="T44" fmla="*/ 23895068 w 225"/>
              <a:gd name="T45" fmla="*/ 31162376 h 167"/>
              <a:gd name="T46" fmla="*/ 23339439 w 225"/>
              <a:gd name="T47" fmla="*/ 35535868 h 167"/>
              <a:gd name="T48" fmla="*/ 22783809 w 225"/>
              <a:gd name="T49" fmla="*/ 34442626 h 167"/>
              <a:gd name="T50" fmla="*/ 22227750 w 225"/>
              <a:gd name="T51" fmla="*/ 31982177 h 167"/>
              <a:gd name="T52" fmla="*/ 19634670 w 225"/>
              <a:gd name="T53" fmla="*/ 33075942 h 167"/>
              <a:gd name="T54" fmla="*/ 17967783 w 225"/>
              <a:gd name="T55" fmla="*/ 34989508 h 167"/>
              <a:gd name="T56" fmla="*/ 14818643 w 225"/>
              <a:gd name="T57" fmla="*/ 39636442 h 167"/>
              <a:gd name="T58" fmla="*/ 13151325 w 225"/>
              <a:gd name="T59" fmla="*/ 41822927 h 167"/>
              <a:gd name="T60" fmla="*/ 11113875 w 225"/>
              <a:gd name="T61" fmla="*/ 43736493 h 167"/>
              <a:gd name="T62" fmla="*/ 8520795 w 225"/>
              <a:gd name="T63" fmla="*/ 45103177 h 167"/>
              <a:gd name="T64" fmla="*/ 4816027 w 225"/>
              <a:gd name="T65" fmla="*/ 45650060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744869" y="6734019"/>
            <a:ext cx="3175" cy="17463"/>
          </a:xfrm>
          <a:custGeom>
            <a:avLst/>
            <a:gdLst>
              <a:gd name="T0" fmla="*/ 0 w 7"/>
              <a:gd name="T1" fmla="*/ 9837302 h 31"/>
              <a:gd name="T2" fmla="*/ 1028700 w 7"/>
              <a:gd name="T3" fmla="*/ 6981257 h 31"/>
              <a:gd name="T4" fmla="*/ 1234168 w 7"/>
              <a:gd name="T5" fmla="*/ 4125211 h 31"/>
              <a:gd name="T6" fmla="*/ 1440089 w 7"/>
              <a:gd name="T7" fmla="*/ 1904030 h 31"/>
              <a:gd name="T8" fmla="*/ 1440089 w 7"/>
              <a:gd name="T9" fmla="*/ 0 h 31"/>
              <a:gd name="T10" fmla="*/ 1234168 w 7"/>
              <a:gd name="T11" fmla="*/ 1904030 h 31"/>
              <a:gd name="T12" fmla="*/ 822779 w 7"/>
              <a:gd name="T13" fmla="*/ 4125211 h 31"/>
              <a:gd name="T14" fmla="*/ 205921 w 7"/>
              <a:gd name="T15" fmla="*/ 6981257 h 31"/>
              <a:gd name="T16" fmla="*/ 0 w 7"/>
              <a:gd name="T17" fmla="*/ 9837302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678194" y="6656232"/>
            <a:ext cx="15875" cy="15875"/>
          </a:xfrm>
          <a:custGeom>
            <a:avLst/>
            <a:gdLst>
              <a:gd name="T0" fmla="*/ 7636837 w 33"/>
              <a:gd name="T1" fmla="*/ 8129536 h 31"/>
              <a:gd name="T2" fmla="*/ 7636837 w 33"/>
              <a:gd name="T3" fmla="*/ 0 h 31"/>
              <a:gd name="T4" fmla="*/ 6248496 w 33"/>
              <a:gd name="T5" fmla="*/ 0 h 31"/>
              <a:gd name="T6" fmla="*/ 5091064 w 33"/>
              <a:gd name="T7" fmla="*/ 524387 h 31"/>
              <a:gd name="T8" fmla="*/ 3702723 w 33"/>
              <a:gd name="T9" fmla="*/ 1310968 h 31"/>
              <a:gd name="T10" fmla="*/ 2545773 w 33"/>
              <a:gd name="T11" fmla="*/ 2098060 h 31"/>
              <a:gd name="T12" fmla="*/ 1388341 w 33"/>
              <a:gd name="T13" fmla="*/ 3146835 h 31"/>
              <a:gd name="T14" fmla="*/ 694170 w 33"/>
              <a:gd name="T15" fmla="*/ 4196121 h 31"/>
              <a:gd name="T16" fmla="*/ 231390 w 33"/>
              <a:gd name="T17" fmla="*/ 5507089 h 31"/>
              <a:gd name="T18" fmla="*/ 0 w 33"/>
              <a:gd name="T19" fmla="*/ 6555863 h 31"/>
              <a:gd name="T20" fmla="*/ 231390 w 33"/>
              <a:gd name="T21" fmla="*/ 7080762 h 31"/>
              <a:gd name="T22" fmla="*/ 694170 w 33"/>
              <a:gd name="T23" fmla="*/ 7605149 h 31"/>
              <a:gd name="T24" fmla="*/ 1388341 w 33"/>
              <a:gd name="T25" fmla="*/ 7867343 h 31"/>
              <a:gd name="T26" fmla="*/ 2545773 w 33"/>
              <a:gd name="T27" fmla="*/ 7867343 h 31"/>
              <a:gd name="T28" fmla="*/ 5091064 w 33"/>
              <a:gd name="T29" fmla="*/ 8129536 h 31"/>
              <a:gd name="T30" fmla="*/ 7636837 w 33"/>
              <a:gd name="T31" fmla="*/ 8129536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694069" y="6568919"/>
            <a:ext cx="3175" cy="9525"/>
          </a:xfrm>
          <a:custGeom>
            <a:avLst/>
            <a:gdLst>
              <a:gd name="T0" fmla="*/ 0 w 13"/>
              <a:gd name="T1" fmla="*/ 4775033 h 19"/>
              <a:gd name="T2" fmla="*/ 119185 w 13"/>
              <a:gd name="T3" fmla="*/ 4523874 h 19"/>
              <a:gd name="T4" fmla="*/ 298206 w 13"/>
              <a:gd name="T5" fmla="*/ 4272213 h 19"/>
              <a:gd name="T6" fmla="*/ 417635 w 13"/>
              <a:gd name="T7" fmla="*/ 3769895 h 19"/>
              <a:gd name="T8" fmla="*/ 477227 w 13"/>
              <a:gd name="T9" fmla="*/ 3015916 h 19"/>
              <a:gd name="T10" fmla="*/ 715840 w 13"/>
              <a:gd name="T11" fmla="*/ 1507958 h 19"/>
              <a:gd name="T12" fmla="*/ 775433 w 13"/>
              <a:gd name="T13" fmla="*/ 0 h 19"/>
              <a:gd name="T14" fmla="*/ 0 w 13"/>
              <a:gd name="T15" fmla="*/ 4775033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533732" y="6572094"/>
            <a:ext cx="36512" cy="22225"/>
          </a:xfrm>
          <a:custGeom>
            <a:avLst/>
            <a:gdLst>
              <a:gd name="T0" fmla="*/ 9511166 w 87"/>
              <a:gd name="T1" fmla="*/ 11760729 h 42"/>
              <a:gd name="T2" fmla="*/ 10391651 w 87"/>
              <a:gd name="T3" fmla="*/ 11760729 h 42"/>
              <a:gd name="T4" fmla="*/ 11272136 w 87"/>
              <a:gd name="T5" fmla="*/ 11480800 h 42"/>
              <a:gd name="T6" fmla="*/ 11976775 w 87"/>
              <a:gd name="T7" fmla="*/ 11200871 h 42"/>
              <a:gd name="T8" fmla="*/ 12505150 w 87"/>
              <a:gd name="T9" fmla="*/ 10640483 h 42"/>
              <a:gd name="T10" fmla="*/ 13209790 w 87"/>
              <a:gd name="T11" fmla="*/ 9520767 h 42"/>
              <a:gd name="T12" fmla="*/ 13738165 w 87"/>
              <a:gd name="T13" fmla="*/ 7840662 h 42"/>
              <a:gd name="T14" fmla="*/ 13914429 w 87"/>
              <a:gd name="T15" fmla="*/ 6160558 h 42"/>
              <a:gd name="T16" fmla="*/ 14090275 w 87"/>
              <a:gd name="T17" fmla="*/ 4480454 h 42"/>
              <a:gd name="T18" fmla="*/ 14442804 w 87"/>
              <a:gd name="T19" fmla="*/ 3080279 h 42"/>
              <a:gd name="T20" fmla="*/ 15323289 w 87"/>
              <a:gd name="T21" fmla="*/ 1680104 h 42"/>
              <a:gd name="T22" fmla="*/ 13561900 w 87"/>
              <a:gd name="T23" fmla="*/ 559858 h 42"/>
              <a:gd name="T24" fmla="*/ 11800511 w 87"/>
              <a:gd name="T25" fmla="*/ 0 h 42"/>
              <a:gd name="T26" fmla="*/ 10039541 w 87"/>
              <a:gd name="T27" fmla="*/ 0 h 42"/>
              <a:gd name="T28" fmla="*/ 8278152 w 87"/>
              <a:gd name="T29" fmla="*/ 0 h 42"/>
              <a:gd name="T30" fmla="*/ 7045137 w 87"/>
              <a:gd name="T31" fmla="*/ 0 h 42"/>
              <a:gd name="T32" fmla="*/ 5636278 w 87"/>
              <a:gd name="T33" fmla="*/ 559858 h 42"/>
              <a:gd name="T34" fmla="*/ 4403263 w 87"/>
              <a:gd name="T35" fmla="*/ 1120246 h 42"/>
              <a:gd name="T36" fmla="*/ 3346514 w 87"/>
              <a:gd name="T37" fmla="*/ 1680104 h 42"/>
              <a:gd name="T38" fmla="*/ 1408860 w 87"/>
              <a:gd name="T39" fmla="*/ 3360208 h 42"/>
              <a:gd name="T40" fmla="*/ 0 w 87"/>
              <a:gd name="T41" fmla="*/ 5040313 h 42"/>
              <a:gd name="T42" fmla="*/ 1937234 w 87"/>
              <a:gd name="T43" fmla="*/ 6720417 h 42"/>
              <a:gd name="T44" fmla="*/ 4755373 w 87"/>
              <a:gd name="T45" fmla="*/ 8960379 h 42"/>
              <a:gd name="T46" fmla="*/ 7573512 w 87"/>
              <a:gd name="T47" fmla="*/ 10920942 h 42"/>
              <a:gd name="T48" fmla="*/ 9511166 w 87"/>
              <a:gd name="T49" fmla="*/ 11760729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778207" y="7035644"/>
            <a:ext cx="1587" cy="14288"/>
          </a:xfrm>
          <a:custGeom>
            <a:avLst/>
            <a:gdLst>
              <a:gd name="T0" fmla="*/ 0 w 7"/>
              <a:gd name="T1" fmla="*/ 0 h 31"/>
              <a:gd name="T2" fmla="*/ 359796 w 7"/>
              <a:gd name="T3" fmla="*/ 0 h 31"/>
              <a:gd name="T4" fmla="*/ 359796 w 7"/>
              <a:gd name="T5" fmla="*/ 3823653 h 31"/>
              <a:gd name="T6" fmla="*/ 0 w 7"/>
              <a:gd name="T7" fmla="*/ 6585385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014619" y="6541932"/>
            <a:ext cx="1019175" cy="908050"/>
          </a:xfrm>
          <a:custGeom>
            <a:avLst/>
            <a:gdLst>
              <a:gd name="T0" fmla="*/ 40874512 w 2332"/>
              <a:gd name="T1" fmla="*/ 194556139 h 1731"/>
              <a:gd name="T2" fmla="*/ 62076149 w 2332"/>
              <a:gd name="T3" fmla="*/ 178595232 h 1731"/>
              <a:gd name="T4" fmla="*/ 83086363 w 2332"/>
              <a:gd name="T5" fmla="*/ 166762255 h 1731"/>
              <a:gd name="T6" fmla="*/ 115557051 w 2332"/>
              <a:gd name="T7" fmla="*/ 156855539 h 1731"/>
              <a:gd name="T8" fmla="*/ 129308921 w 2332"/>
              <a:gd name="T9" fmla="*/ 120256036 h 1731"/>
              <a:gd name="T10" fmla="*/ 144780539 w 2332"/>
              <a:gd name="T11" fmla="*/ 120806322 h 1731"/>
              <a:gd name="T12" fmla="*/ 149746614 w 2332"/>
              <a:gd name="T13" fmla="*/ 99892320 h 1731"/>
              <a:gd name="T14" fmla="*/ 165408781 w 2332"/>
              <a:gd name="T15" fmla="*/ 86958771 h 1731"/>
              <a:gd name="T16" fmla="*/ 179352074 w 2332"/>
              <a:gd name="T17" fmla="*/ 67695626 h 1731"/>
              <a:gd name="T18" fmla="*/ 196160158 w 2332"/>
              <a:gd name="T19" fmla="*/ 61366554 h 1731"/>
              <a:gd name="T20" fmla="*/ 205901320 w 2332"/>
              <a:gd name="T21" fmla="*/ 78152627 h 1731"/>
              <a:gd name="T22" fmla="*/ 216788400 w 2332"/>
              <a:gd name="T23" fmla="*/ 74300103 h 1731"/>
              <a:gd name="T24" fmla="*/ 224619702 w 2332"/>
              <a:gd name="T25" fmla="*/ 47331910 h 1731"/>
              <a:gd name="T26" fmla="*/ 252124316 w 2332"/>
              <a:gd name="T27" fmla="*/ 32196694 h 1731"/>
              <a:gd name="T28" fmla="*/ 255180092 w 2332"/>
              <a:gd name="T29" fmla="*/ 11282692 h 1731"/>
              <a:gd name="T30" fmla="*/ 273516502 w 2332"/>
              <a:gd name="T31" fmla="*/ 29444741 h 1731"/>
              <a:gd name="T32" fmla="*/ 294908688 w 2332"/>
              <a:gd name="T33" fmla="*/ 32196694 h 1731"/>
              <a:gd name="T34" fmla="*/ 279819478 w 2332"/>
              <a:gd name="T35" fmla="*/ 72098436 h 1731"/>
              <a:gd name="T36" fmla="*/ 288223739 w 2332"/>
              <a:gd name="T37" fmla="*/ 91636986 h 1731"/>
              <a:gd name="T38" fmla="*/ 302167032 w 2332"/>
              <a:gd name="T39" fmla="*/ 97415772 h 1731"/>
              <a:gd name="T40" fmla="*/ 318593144 w 2332"/>
              <a:gd name="T41" fmla="*/ 116403512 h 1731"/>
              <a:gd name="T42" fmla="*/ 336929553 w 2332"/>
              <a:gd name="T43" fmla="*/ 113651559 h 1731"/>
              <a:gd name="T44" fmla="*/ 349535506 w 2332"/>
              <a:gd name="T45" fmla="*/ 56412934 h 1731"/>
              <a:gd name="T46" fmla="*/ 363669785 w 2332"/>
              <a:gd name="T47" fmla="*/ 2751953 h 1731"/>
              <a:gd name="T48" fmla="*/ 369208818 w 2332"/>
              <a:gd name="T49" fmla="*/ 22014573 h 1731"/>
              <a:gd name="T50" fmla="*/ 371310102 w 2332"/>
              <a:gd name="T51" fmla="*/ 48432481 h 1731"/>
              <a:gd name="T52" fmla="*/ 379331953 w 2332"/>
              <a:gd name="T53" fmla="*/ 66044244 h 1731"/>
              <a:gd name="T54" fmla="*/ 389646511 w 2332"/>
              <a:gd name="T55" fmla="*/ 118054369 h 1731"/>
              <a:gd name="T56" fmla="*/ 399005701 w 2332"/>
              <a:gd name="T57" fmla="*/ 148600205 h 1731"/>
              <a:gd name="T58" fmla="*/ 413139543 w 2332"/>
              <a:gd name="T59" fmla="*/ 188777352 h 1731"/>
              <a:gd name="T60" fmla="*/ 423836073 w 2332"/>
              <a:gd name="T61" fmla="*/ 211617616 h 1731"/>
              <a:gd name="T62" fmla="*/ 445419246 w 2332"/>
              <a:gd name="T63" fmla="*/ 245465167 h 1731"/>
              <a:gd name="T64" fmla="*/ 434723153 w 2332"/>
              <a:gd name="T65" fmla="*/ 304079768 h 1731"/>
              <a:gd name="T66" fmla="*/ 398623292 w 2332"/>
              <a:gd name="T67" fmla="*/ 374802752 h 1731"/>
              <a:gd name="T68" fmla="*/ 382961125 w 2332"/>
              <a:gd name="T69" fmla="*/ 394065373 h 1731"/>
              <a:gd name="T70" fmla="*/ 351063832 w 2332"/>
              <a:gd name="T71" fmla="*/ 437820163 h 1731"/>
              <a:gd name="T72" fmla="*/ 334064325 w 2332"/>
              <a:gd name="T73" fmla="*/ 461210713 h 1731"/>
              <a:gd name="T74" fmla="*/ 303503934 w 2332"/>
              <a:gd name="T75" fmla="*/ 474969952 h 1731"/>
              <a:gd name="T76" fmla="*/ 289751627 w 2332"/>
              <a:gd name="T77" fmla="*/ 465888928 h 1731"/>
              <a:gd name="T78" fmla="*/ 269314372 w 2332"/>
              <a:gd name="T79" fmla="*/ 475795643 h 1731"/>
              <a:gd name="T80" fmla="*/ 247731199 w 2332"/>
              <a:gd name="T81" fmla="*/ 465888928 h 1731"/>
              <a:gd name="T82" fmla="*/ 244293013 w 2332"/>
              <a:gd name="T83" fmla="*/ 444149235 h 1731"/>
              <a:gd name="T84" fmla="*/ 241236800 w 2332"/>
              <a:gd name="T85" fmla="*/ 417181042 h 1731"/>
              <a:gd name="T86" fmla="*/ 233978892 w 2332"/>
              <a:gd name="T87" fmla="*/ 412778232 h 1731"/>
              <a:gd name="T88" fmla="*/ 244483999 w 2332"/>
              <a:gd name="T89" fmla="*/ 380306133 h 1731"/>
              <a:gd name="T90" fmla="*/ 207811181 w 2332"/>
              <a:gd name="T91" fmla="*/ 374802752 h 1731"/>
              <a:gd name="T92" fmla="*/ 183554204 w 2332"/>
              <a:gd name="T93" fmla="*/ 352787654 h 1731"/>
              <a:gd name="T94" fmla="*/ 144016158 w 2332"/>
              <a:gd name="T95" fmla="*/ 364070346 h 1731"/>
              <a:gd name="T96" fmla="*/ 96838670 w 2332"/>
              <a:gd name="T97" fmla="*/ 390488254 h 1731"/>
              <a:gd name="T98" fmla="*/ 40874512 w 2332"/>
              <a:gd name="T99" fmla="*/ 405348064 h 1731"/>
              <a:gd name="T100" fmla="*/ 10505107 w 2332"/>
              <a:gd name="T101" fmla="*/ 410026279 h 1731"/>
              <a:gd name="T102" fmla="*/ 381972 w 2332"/>
              <a:gd name="T103" fmla="*/ 391588825 h 1731"/>
              <a:gd name="T104" fmla="*/ 18527395 w 2332"/>
              <a:gd name="T105" fmla="*/ 369849132 h 1731"/>
              <a:gd name="T106" fmla="*/ 14325265 w 2332"/>
              <a:gd name="T107" fmla="*/ 341504963 h 1731"/>
              <a:gd name="T108" fmla="*/ 21583172 w 2332"/>
              <a:gd name="T109" fmla="*/ 321966937 h 1731"/>
              <a:gd name="T110" fmla="*/ 11078065 w 2332"/>
              <a:gd name="T111" fmla="*/ 259499812 h 1731"/>
              <a:gd name="T112" fmla="*/ 21583172 w 2332"/>
              <a:gd name="T113" fmla="*/ 265278598 h 1731"/>
              <a:gd name="T114" fmla="*/ 20246270 w 2332"/>
              <a:gd name="T115" fmla="*/ 237209833 h 1731"/>
              <a:gd name="T116" fmla="*/ 28077572 w 2332"/>
              <a:gd name="T117" fmla="*/ 21051704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501232" y="5208432"/>
            <a:ext cx="668337" cy="581025"/>
          </a:xfrm>
          <a:custGeom>
            <a:avLst/>
            <a:gdLst>
              <a:gd name="T0" fmla="*/ 235638210 w 1535"/>
              <a:gd name="T1" fmla="*/ 253903210 h 1109"/>
              <a:gd name="T2" fmla="*/ 246254101 w 1535"/>
              <a:gd name="T3" fmla="*/ 269548971 h 1109"/>
              <a:gd name="T4" fmla="*/ 231277692 w 1535"/>
              <a:gd name="T5" fmla="*/ 274215508 h 1109"/>
              <a:gd name="T6" fmla="*/ 223126158 w 1535"/>
              <a:gd name="T7" fmla="*/ 300566485 h 1109"/>
              <a:gd name="T8" fmla="*/ 201894376 w 1535"/>
              <a:gd name="T9" fmla="*/ 276136716 h 1109"/>
              <a:gd name="T10" fmla="*/ 188434461 w 1535"/>
              <a:gd name="T11" fmla="*/ 277783914 h 1109"/>
              <a:gd name="T12" fmla="*/ 173079255 w 1535"/>
              <a:gd name="T13" fmla="*/ 285195257 h 1109"/>
              <a:gd name="T14" fmla="*/ 149003448 w 1535"/>
              <a:gd name="T15" fmla="*/ 266529632 h 1109"/>
              <a:gd name="T16" fmla="*/ 122842518 w 1535"/>
              <a:gd name="T17" fmla="*/ 251707470 h 1109"/>
              <a:gd name="T18" fmla="*/ 111468162 w 1535"/>
              <a:gd name="T19" fmla="*/ 242374919 h 1109"/>
              <a:gd name="T20" fmla="*/ 101800134 w 1535"/>
              <a:gd name="T21" fmla="*/ 229198907 h 1109"/>
              <a:gd name="T22" fmla="*/ 91942272 w 1535"/>
              <a:gd name="T23" fmla="*/ 226728634 h 1109"/>
              <a:gd name="T24" fmla="*/ 83222107 w 1535"/>
              <a:gd name="T25" fmla="*/ 207789000 h 1109"/>
              <a:gd name="T26" fmla="*/ 88530052 w 1535"/>
              <a:gd name="T27" fmla="*/ 193515380 h 1109"/>
              <a:gd name="T28" fmla="*/ 85307231 w 1535"/>
              <a:gd name="T29" fmla="*/ 164968663 h 1109"/>
              <a:gd name="T30" fmla="*/ 66729204 w 1535"/>
              <a:gd name="T31" fmla="*/ 128461536 h 1109"/>
              <a:gd name="T32" fmla="*/ 57629807 w 1535"/>
              <a:gd name="T33" fmla="*/ 116932722 h 1109"/>
              <a:gd name="T34" fmla="*/ 55544683 w 1535"/>
              <a:gd name="T35" fmla="*/ 101286960 h 1109"/>
              <a:gd name="T36" fmla="*/ 41137340 w 1535"/>
              <a:gd name="T37" fmla="*/ 68073706 h 1109"/>
              <a:gd name="T38" fmla="*/ 31658710 w 1535"/>
              <a:gd name="T39" fmla="*/ 20312299 h 1109"/>
              <a:gd name="T40" fmla="*/ 15923837 w 1535"/>
              <a:gd name="T41" fmla="*/ 28546717 h 1109"/>
              <a:gd name="T42" fmla="*/ 21421616 w 1535"/>
              <a:gd name="T43" fmla="*/ 60936896 h 1109"/>
              <a:gd name="T44" fmla="*/ 28435889 w 1535"/>
              <a:gd name="T45" fmla="*/ 89483613 h 1109"/>
              <a:gd name="T46" fmla="*/ 37156054 w 1535"/>
              <a:gd name="T47" fmla="*/ 110344978 h 1109"/>
              <a:gd name="T48" fmla="*/ 37914519 w 1535"/>
              <a:gd name="T49" fmla="*/ 127637937 h 1109"/>
              <a:gd name="T50" fmla="*/ 40378875 w 1535"/>
              <a:gd name="T51" fmla="*/ 143832765 h 1109"/>
              <a:gd name="T52" fmla="*/ 49099040 w 1535"/>
              <a:gd name="T53" fmla="*/ 156733720 h 1109"/>
              <a:gd name="T54" fmla="*/ 40568274 w 1535"/>
              <a:gd name="T55" fmla="*/ 163595998 h 1109"/>
              <a:gd name="T56" fmla="*/ 36587423 w 1535"/>
              <a:gd name="T57" fmla="*/ 148773835 h 1109"/>
              <a:gd name="T58" fmla="*/ 22748711 w 1535"/>
              <a:gd name="T59" fmla="*/ 130108210 h 1109"/>
              <a:gd name="T60" fmla="*/ 27677424 w 1535"/>
              <a:gd name="T61" fmla="*/ 115286048 h 1109"/>
              <a:gd name="T62" fmla="*/ 16871700 w 1535"/>
              <a:gd name="T63" fmla="*/ 100463361 h 1109"/>
              <a:gd name="T64" fmla="*/ 5118547 w 1535"/>
              <a:gd name="T65" fmla="*/ 84268534 h 1109"/>
              <a:gd name="T66" fmla="*/ 12322219 w 1535"/>
              <a:gd name="T67" fmla="*/ 79327464 h 1109"/>
              <a:gd name="T68" fmla="*/ 12132820 w 1535"/>
              <a:gd name="T69" fmla="*/ 61760495 h 1109"/>
              <a:gd name="T70" fmla="*/ 1137261 w 1535"/>
              <a:gd name="T71" fmla="*/ 32115122 h 1109"/>
              <a:gd name="T72" fmla="*/ 7203671 w 1535"/>
              <a:gd name="T73" fmla="*/ 1372665 h 1109"/>
              <a:gd name="T74" fmla="*/ 39999643 w 1535"/>
              <a:gd name="T75" fmla="*/ 4941070 h 1109"/>
              <a:gd name="T76" fmla="*/ 68435532 w 1535"/>
              <a:gd name="T77" fmla="*/ 20861365 h 1109"/>
              <a:gd name="T78" fmla="*/ 94407064 w 1535"/>
              <a:gd name="T79" fmla="*/ 15096696 h 1109"/>
              <a:gd name="T80" fmla="*/ 112416025 w 1535"/>
              <a:gd name="T81" fmla="*/ 14822686 h 1109"/>
              <a:gd name="T82" fmla="*/ 119998929 w 1535"/>
              <a:gd name="T83" fmla="*/ 30193915 h 1109"/>
              <a:gd name="T84" fmla="*/ 132700379 w 1535"/>
              <a:gd name="T85" fmla="*/ 59015165 h 1109"/>
              <a:gd name="T86" fmla="*/ 142179009 w 1535"/>
              <a:gd name="T87" fmla="*/ 52701954 h 1109"/>
              <a:gd name="T88" fmla="*/ 155828323 w 1535"/>
              <a:gd name="T89" fmla="*/ 48310474 h 1109"/>
              <a:gd name="T90" fmla="*/ 166633612 w 1535"/>
              <a:gd name="T91" fmla="*/ 66975574 h 1109"/>
              <a:gd name="T92" fmla="*/ 171562761 w 1535"/>
              <a:gd name="T93" fmla="*/ 99365229 h 1109"/>
              <a:gd name="T94" fmla="*/ 182747283 w 1535"/>
              <a:gd name="T95" fmla="*/ 111168577 h 1109"/>
              <a:gd name="T96" fmla="*/ 185212075 w 1535"/>
              <a:gd name="T97" fmla="*/ 125167664 h 1109"/>
              <a:gd name="T98" fmla="*/ 176491474 w 1535"/>
              <a:gd name="T99" fmla="*/ 135049281 h 1109"/>
              <a:gd name="T100" fmla="*/ 173837719 w 1535"/>
              <a:gd name="T101" fmla="*/ 174026680 h 1109"/>
              <a:gd name="T102" fmla="*/ 181230789 w 1535"/>
              <a:gd name="T103" fmla="*/ 217121550 h 1109"/>
              <a:gd name="T104" fmla="*/ 199808816 w 1535"/>
              <a:gd name="T105" fmla="*/ 240727721 h 1109"/>
              <a:gd name="T106" fmla="*/ 221041034 w 1535"/>
              <a:gd name="T107" fmla="*/ 233041845 h 1109"/>
              <a:gd name="T108" fmla="*/ 236775472 w 1535"/>
              <a:gd name="T109" fmla="*/ 233316378 h 1109"/>
              <a:gd name="T110" fmla="*/ 245685471 w 1535"/>
              <a:gd name="T111" fmla="*/ 203671529 h 1109"/>
              <a:gd name="T112" fmla="*/ 253268374 w 1535"/>
              <a:gd name="T113" fmla="*/ 190221508 h 1109"/>
              <a:gd name="T114" fmla="*/ 285495280 w 1535"/>
              <a:gd name="T115" fmla="*/ 186104036 h 1109"/>
              <a:gd name="T116" fmla="*/ 284926649 w 1535"/>
              <a:gd name="T117" fmla="*/ 200103124 h 1109"/>
              <a:gd name="T118" fmla="*/ 278291608 w 1535"/>
              <a:gd name="T119" fmla="*/ 225356493 h 1109"/>
              <a:gd name="T120" fmla="*/ 259524183 w 1535"/>
              <a:gd name="T121" fmla="*/ 243747060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775994" y="6848319"/>
            <a:ext cx="211138" cy="265113"/>
          </a:xfrm>
          <a:custGeom>
            <a:avLst/>
            <a:gdLst>
              <a:gd name="T0" fmla="*/ 2642266 w 486"/>
              <a:gd name="T1" fmla="*/ 48505704 h 505"/>
              <a:gd name="T2" fmla="*/ 5851042 w 486"/>
              <a:gd name="T3" fmla="*/ 54568655 h 505"/>
              <a:gd name="T4" fmla="*/ 9625460 w 486"/>
              <a:gd name="T5" fmla="*/ 63938956 h 505"/>
              <a:gd name="T6" fmla="*/ 15476502 w 486"/>
              <a:gd name="T7" fmla="*/ 73309782 h 505"/>
              <a:gd name="T8" fmla="*/ 23780829 w 486"/>
              <a:gd name="T9" fmla="*/ 80750795 h 505"/>
              <a:gd name="T10" fmla="*/ 32085591 w 486"/>
              <a:gd name="T11" fmla="*/ 85436208 h 505"/>
              <a:gd name="T12" fmla="*/ 46429507 w 486"/>
              <a:gd name="T13" fmla="*/ 90396708 h 505"/>
              <a:gd name="T14" fmla="*/ 55677873 w 486"/>
              <a:gd name="T15" fmla="*/ 94806509 h 505"/>
              <a:gd name="T16" fmla="*/ 56432930 w 486"/>
              <a:gd name="T17" fmla="*/ 105003647 h 505"/>
              <a:gd name="T18" fmla="*/ 52280549 w 486"/>
              <a:gd name="T19" fmla="*/ 115200786 h 505"/>
              <a:gd name="T20" fmla="*/ 50393340 w 486"/>
              <a:gd name="T21" fmla="*/ 122090574 h 505"/>
              <a:gd name="T22" fmla="*/ 50204359 w 486"/>
              <a:gd name="T23" fmla="*/ 127602824 h 505"/>
              <a:gd name="T24" fmla="*/ 52469096 w 486"/>
              <a:gd name="T25" fmla="*/ 132839462 h 505"/>
              <a:gd name="T26" fmla="*/ 56432930 w 486"/>
              <a:gd name="T27" fmla="*/ 136146288 h 505"/>
              <a:gd name="T28" fmla="*/ 64925804 w 486"/>
              <a:gd name="T29" fmla="*/ 138902413 h 505"/>
              <a:gd name="T30" fmla="*/ 73041584 w 486"/>
              <a:gd name="T31" fmla="*/ 138902413 h 505"/>
              <a:gd name="T32" fmla="*/ 78326550 w 486"/>
              <a:gd name="T33" fmla="*/ 136146288 h 505"/>
              <a:gd name="T34" fmla="*/ 84177158 w 486"/>
              <a:gd name="T35" fmla="*/ 130634562 h 505"/>
              <a:gd name="T36" fmla="*/ 89273143 w 486"/>
              <a:gd name="T37" fmla="*/ 123193024 h 505"/>
              <a:gd name="T38" fmla="*/ 91538315 w 486"/>
              <a:gd name="T39" fmla="*/ 115200786 h 505"/>
              <a:gd name="T40" fmla="*/ 91349334 w 486"/>
              <a:gd name="T41" fmla="*/ 109413448 h 505"/>
              <a:gd name="T42" fmla="*/ 90216748 w 486"/>
              <a:gd name="T43" fmla="*/ 98664559 h 505"/>
              <a:gd name="T44" fmla="*/ 88895615 w 486"/>
              <a:gd name="T45" fmla="*/ 87089358 h 505"/>
              <a:gd name="T46" fmla="*/ 87763463 w 486"/>
              <a:gd name="T47" fmla="*/ 74412232 h 505"/>
              <a:gd name="T48" fmla="*/ 86064801 w 486"/>
              <a:gd name="T49" fmla="*/ 69451206 h 505"/>
              <a:gd name="T50" fmla="*/ 82856025 w 486"/>
              <a:gd name="T51" fmla="*/ 65868244 h 505"/>
              <a:gd name="T52" fmla="*/ 77949022 w 486"/>
              <a:gd name="T53" fmla="*/ 63938956 h 505"/>
              <a:gd name="T54" fmla="*/ 73985623 w 486"/>
              <a:gd name="T55" fmla="*/ 61183356 h 505"/>
              <a:gd name="T56" fmla="*/ 69833242 w 486"/>
              <a:gd name="T57" fmla="*/ 57049168 h 505"/>
              <a:gd name="T58" fmla="*/ 62283538 w 486"/>
              <a:gd name="T59" fmla="*/ 51813055 h 505"/>
              <a:gd name="T60" fmla="*/ 54734268 w 486"/>
              <a:gd name="T61" fmla="*/ 47403254 h 505"/>
              <a:gd name="T62" fmla="*/ 51525492 w 486"/>
              <a:gd name="T63" fmla="*/ 44095904 h 505"/>
              <a:gd name="T64" fmla="*/ 49826830 w 486"/>
              <a:gd name="T65" fmla="*/ 41615391 h 505"/>
              <a:gd name="T66" fmla="*/ 49260754 w 486"/>
              <a:gd name="T67" fmla="*/ 34449991 h 505"/>
              <a:gd name="T68" fmla="*/ 49260754 w 486"/>
              <a:gd name="T69" fmla="*/ 24804077 h 505"/>
              <a:gd name="T70" fmla="*/ 48128169 w 486"/>
              <a:gd name="T71" fmla="*/ 19567439 h 505"/>
              <a:gd name="T72" fmla="*/ 45485902 w 486"/>
              <a:gd name="T73" fmla="*/ 15158164 h 505"/>
              <a:gd name="T74" fmla="*/ 44164769 w 486"/>
              <a:gd name="T75" fmla="*/ 10197138 h 505"/>
              <a:gd name="T76" fmla="*/ 37559104 w 486"/>
              <a:gd name="T77" fmla="*/ 3307350 h 505"/>
              <a:gd name="T78" fmla="*/ 35105385 w 486"/>
              <a:gd name="T79" fmla="*/ 2204900 h 505"/>
              <a:gd name="T80" fmla="*/ 32651666 w 486"/>
              <a:gd name="T81" fmla="*/ 551225 h 505"/>
              <a:gd name="T82" fmla="*/ 26234548 w 486"/>
              <a:gd name="T83" fmla="*/ 275613 h 505"/>
              <a:gd name="T84" fmla="*/ 13211765 w 486"/>
              <a:gd name="T85" fmla="*/ 3031738 h 505"/>
              <a:gd name="T86" fmla="*/ 7926798 w 486"/>
              <a:gd name="T87" fmla="*/ 5787863 h 505"/>
              <a:gd name="T88" fmla="*/ 4529909 w 486"/>
              <a:gd name="T89" fmla="*/ 10197138 h 505"/>
              <a:gd name="T90" fmla="*/ 3774852 w 486"/>
              <a:gd name="T91" fmla="*/ 17638152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945857" y="6052982"/>
            <a:ext cx="73025" cy="109537"/>
          </a:xfrm>
          <a:custGeom>
            <a:avLst/>
            <a:gdLst>
              <a:gd name="T0" fmla="*/ 1354482 w 166"/>
              <a:gd name="T1" fmla="*/ 50750915 h 208"/>
              <a:gd name="T2" fmla="*/ 15288180 w 166"/>
              <a:gd name="T3" fmla="*/ 57684396 h 208"/>
              <a:gd name="T4" fmla="*/ 16449101 w 166"/>
              <a:gd name="T5" fmla="*/ 57406867 h 208"/>
              <a:gd name="T6" fmla="*/ 17416902 w 166"/>
              <a:gd name="T7" fmla="*/ 56575334 h 208"/>
              <a:gd name="T8" fmla="*/ 18771384 w 166"/>
              <a:gd name="T9" fmla="*/ 54911214 h 208"/>
              <a:gd name="T10" fmla="*/ 20126306 w 166"/>
              <a:gd name="T11" fmla="*/ 53247094 h 208"/>
              <a:gd name="T12" fmla="*/ 22641709 w 166"/>
              <a:gd name="T13" fmla="*/ 48809793 h 208"/>
              <a:gd name="T14" fmla="*/ 25157552 w 166"/>
              <a:gd name="T15" fmla="*/ 43817960 h 208"/>
              <a:gd name="T16" fmla="*/ 29802118 w 166"/>
              <a:gd name="T17" fmla="*/ 33834294 h 208"/>
              <a:gd name="T18" fmla="*/ 32124401 w 166"/>
              <a:gd name="T19" fmla="*/ 28564932 h 208"/>
              <a:gd name="T20" fmla="*/ 27866956 w 166"/>
              <a:gd name="T21" fmla="*/ 26068753 h 208"/>
              <a:gd name="T22" fmla="*/ 24383751 w 166"/>
              <a:gd name="T23" fmla="*/ 23295571 h 208"/>
              <a:gd name="T24" fmla="*/ 20900107 w 166"/>
              <a:gd name="T25" fmla="*/ 20522389 h 208"/>
              <a:gd name="T26" fmla="*/ 17997583 w 166"/>
              <a:gd name="T27" fmla="*/ 17749207 h 208"/>
              <a:gd name="T28" fmla="*/ 16642661 w 166"/>
              <a:gd name="T29" fmla="*/ 16085087 h 208"/>
              <a:gd name="T30" fmla="*/ 15675300 w 166"/>
              <a:gd name="T31" fmla="*/ 14698496 h 208"/>
              <a:gd name="T32" fmla="*/ 14513939 w 166"/>
              <a:gd name="T33" fmla="*/ 13034376 h 208"/>
              <a:gd name="T34" fmla="*/ 13740138 w 166"/>
              <a:gd name="T35" fmla="*/ 11093254 h 208"/>
              <a:gd name="T36" fmla="*/ 12965897 w 166"/>
              <a:gd name="T37" fmla="*/ 9151606 h 208"/>
              <a:gd name="T38" fmla="*/ 12385216 w 166"/>
              <a:gd name="T39" fmla="*/ 7210484 h 208"/>
              <a:gd name="T40" fmla="*/ 11998095 w 166"/>
              <a:gd name="T41" fmla="*/ 4991833 h 208"/>
              <a:gd name="T42" fmla="*/ 11611415 w 166"/>
              <a:gd name="T43" fmla="*/ 3050711 h 208"/>
              <a:gd name="T44" fmla="*/ 9675813 w 166"/>
              <a:gd name="T45" fmla="*/ 2773182 h 208"/>
              <a:gd name="T46" fmla="*/ 8321331 w 166"/>
              <a:gd name="T47" fmla="*/ 2218651 h 208"/>
              <a:gd name="T48" fmla="*/ 7740650 w 166"/>
              <a:gd name="T49" fmla="*/ 1386591 h 208"/>
              <a:gd name="T50" fmla="*/ 7547090 w 166"/>
              <a:gd name="T51" fmla="*/ 832060 h 208"/>
              <a:gd name="T52" fmla="*/ 7353969 w 166"/>
              <a:gd name="T53" fmla="*/ 277529 h 208"/>
              <a:gd name="T54" fmla="*/ 6966849 w 166"/>
              <a:gd name="T55" fmla="*/ 0 h 208"/>
              <a:gd name="T56" fmla="*/ 6192608 w 166"/>
              <a:gd name="T57" fmla="*/ 277529 h 208"/>
              <a:gd name="T58" fmla="*/ 5225247 w 166"/>
              <a:gd name="T59" fmla="*/ 1386591 h 208"/>
              <a:gd name="T60" fmla="*/ 3870325 w 166"/>
              <a:gd name="T61" fmla="*/ 3050711 h 208"/>
              <a:gd name="T62" fmla="*/ 2128723 w 166"/>
              <a:gd name="T63" fmla="*/ 6101422 h 208"/>
              <a:gd name="T64" fmla="*/ 1354482 w 166"/>
              <a:gd name="T65" fmla="*/ 8042544 h 208"/>
              <a:gd name="T66" fmla="*/ 774241 w 166"/>
              <a:gd name="T67" fmla="*/ 10261194 h 208"/>
              <a:gd name="T68" fmla="*/ 387120 w 166"/>
              <a:gd name="T69" fmla="*/ 12479845 h 208"/>
              <a:gd name="T70" fmla="*/ 0 w 166"/>
              <a:gd name="T71" fmla="*/ 14975498 h 208"/>
              <a:gd name="T72" fmla="*/ 0 w 166"/>
              <a:gd name="T73" fmla="*/ 16639618 h 208"/>
              <a:gd name="T74" fmla="*/ 387120 w 166"/>
              <a:gd name="T75" fmla="*/ 18026209 h 208"/>
              <a:gd name="T76" fmla="*/ 580681 w 166"/>
              <a:gd name="T77" fmla="*/ 19412800 h 208"/>
              <a:gd name="T78" fmla="*/ 967801 w 166"/>
              <a:gd name="T79" fmla="*/ 21076920 h 208"/>
              <a:gd name="T80" fmla="*/ 1935163 w 166"/>
              <a:gd name="T81" fmla="*/ 23850102 h 208"/>
              <a:gd name="T82" fmla="*/ 3289644 w 166"/>
              <a:gd name="T83" fmla="*/ 27178342 h 208"/>
              <a:gd name="T84" fmla="*/ 4257445 w 166"/>
              <a:gd name="T85" fmla="*/ 30229052 h 208"/>
              <a:gd name="T86" fmla="*/ 5418367 w 166"/>
              <a:gd name="T87" fmla="*/ 33279236 h 208"/>
              <a:gd name="T88" fmla="*/ 5805488 w 166"/>
              <a:gd name="T89" fmla="*/ 34943356 h 208"/>
              <a:gd name="T90" fmla="*/ 6192608 w 166"/>
              <a:gd name="T91" fmla="*/ 36884478 h 208"/>
              <a:gd name="T92" fmla="*/ 6386168 w 166"/>
              <a:gd name="T93" fmla="*/ 38548598 h 208"/>
              <a:gd name="T94" fmla="*/ 6386168 w 166"/>
              <a:gd name="T95" fmla="*/ 40767249 h 208"/>
              <a:gd name="T96" fmla="*/ 6192608 w 166"/>
              <a:gd name="T97" fmla="*/ 42431369 h 208"/>
              <a:gd name="T98" fmla="*/ 5999048 w 166"/>
              <a:gd name="T99" fmla="*/ 44095489 h 208"/>
              <a:gd name="T100" fmla="*/ 5418367 w 166"/>
              <a:gd name="T101" fmla="*/ 45759082 h 208"/>
              <a:gd name="T102" fmla="*/ 4838126 w 166"/>
              <a:gd name="T103" fmla="*/ 46868670 h 208"/>
              <a:gd name="T104" fmla="*/ 4063885 w 166"/>
              <a:gd name="T105" fmla="*/ 48255261 h 208"/>
              <a:gd name="T106" fmla="*/ 3289644 w 166"/>
              <a:gd name="T107" fmla="*/ 49087321 h 208"/>
              <a:gd name="T108" fmla="*/ 2128723 w 166"/>
              <a:gd name="T109" fmla="*/ 49919381 h 208"/>
              <a:gd name="T110" fmla="*/ 1354482 w 166"/>
              <a:gd name="T111" fmla="*/ 50750915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460082" y="5611657"/>
            <a:ext cx="69850" cy="58737"/>
          </a:xfrm>
          <a:custGeom>
            <a:avLst/>
            <a:gdLst>
              <a:gd name="T0" fmla="*/ 27754727 w 164"/>
              <a:gd name="T1" fmla="*/ 33173415 h 104"/>
              <a:gd name="T2" fmla="*/ 24308226 w 164"/>
              <a:gd name="T3" fmla="*/ 32535215 h 104"/>
              <a:gd name="T4" fmla="*/ 19954527 w 164"/>
              <a:gd name="T5" fmla="*/ 30940844 h 104"/>
              <a:gd name="T6" fmla="*/ 17414798 w 164"/>
              <a:gd name="T7" fmla="*/ 29983544 h 104"/>
              <a:gd name="T8" fmla="*/ 14512189 w 164"/>
              <a:gd name="T9" fmla="*/ 29664444 h 104"/>
              <a:gd name="T10" fmla="*/ 13242538 w 164"/>
              <a:gd name="T11" fmla="*/ 29664444 h 104"/>
              <a:gd name="T12" fmla="*/ 11610007 w 164"/>
              <a:gd name="T13" fmla="*/ 29983544 h 104"/>
              <a:gd name="T14" fmla="*/ 9977050 w 164"/>
              <a:gd name="T15" fmla="*/ 30621744 h 104"/>
              <a:gd name="T16" fmla="*/ 8525959 w 164"/>
              <a:gd name="T17" fmla="*/ 31259380 h 104"/>
              <a:gd name="T18" fmla="*/ 7437747 w 164"/>
              <a:gd name="T19" fmla="*/ 31897580 h 104"/>
              <a:gd name="T20" fmla="*/ 6167670 w 164"/>
              <a:gd name="T21" fmla="*/ 31897580 h 104"/>
              <a:gd name="T22" fmla="*/ 4898018 w 164"/>
              <a:gd name="T23" fmla="*/ 31578480 h 104"/>
              <a:gd name="T24" fmla="*/ 3446501 w 164"/>
              <a:gd name="T25" fmla="*/ 30621744 h 104"/>
              <a:gd name="T26" fmla="*/ 1995410 w 164"/>
              <a:gd name="T27" fmla="*/ 29345909 h 104"/>
              <a:gd name="T28" fmla="*/ 1088212 w 164"/>
              <a:gd name="T29" fmla="*/ 28070073 h 104"/>
              <a:gd name="T30" fmla="*/ 544319 w 164"/>
              <a:gd name="T31" fmla="*/ 27431873 h 104"/>
              <a:gd name="T32" fmla="*/ 181440 w 164"/>
              <a:gd name="T33" fmla="*/ 26793673 h 104"/>
              <a:gd name="T34" fmla="*/ 0 w 164"/>
              <a:gd name="T35" fmla="*/ 25836938 h 104"/>
              <a:gd name="T36" fmla="*/ 0 w 164"/>
              <a:gd name="T37" fmla="*/ 25199303 h 104"/>
              <a:gd name="T38" fmla="*/ 0 w 164"/>
              <a:gd name="T39" fmla="*/ 24242002 h 104"/>
              <a:gd name="T40" fmla="*/ 181440 w 164"/>
              <a:gd name="T41" fmla="*/ 23604367 h 104"/>
              <a:gd name="T42" fmla="*/ 544319 w 164"/>
              <a:gd name="T43" fmla="*/ 22647067 h 104"/>
              <a:gd name="T44" fmla="*/ 1088212 w 164"/>
              <a:gd name="T45" fmla="*/ 22328532 h 104"/>
              <a:gd name="T46" fmla="*/ 2176850 w 164"/>
              <a:gd name="T47" fmla="*/ 21371232 h 104"/>
              <a:gd name="T48" fmla="*/ 3627941 w 164"/>
              <a:gd name="T49" fmla="*/ 21052131 h 104"/>
              <a:gd name="T50" fmla="*/ 7256308 w 164"/>
              <a:gd name="T51" fmla="*/ 21052131 h 104"/>
              <a:gd name="T52" fmla="*/ 11065688 w 164"/>
              <a:gd name="T53" fmla="*/ 21371232 h 104"/>
              <a:gd name="T54" fmla="*/ 12698219 w 164"/>
              <a:gd name="T55" fmla="*/ 21371232 h 104"/>
              <a:gd name="T56" fmla="*/ 14330750 w 164"/>
              <a:gd name="T57" fmla="*/ 21371232 h 104"/>
              <a:gd name="T58" fmla="*/ 15782267 w 164"/>
              <a:gd name="T59" fmla="*/ 21371232 h 104"/>
              <a:gd name="T60" fmla="*/ 17051918 w 164"/>
              <a:gd name="T61" fmla="*/ 21371232 h 104"/>
              <a:gd name="T62" fmla="*/ 17051918 w 164"/>
              <a:gd name="T63" fmla="*/ 17862825 h 104"/>
              <a:gd name="T64" fmla="*/ 17051918 w 164"/>
              <a:gd name="T65" fmla="*/ 13715654 h 104"/>
              <a:gd name="T66" fmla="*/ 17051918 w 164"/>
              <a:gd name="T67" fmla="*/ 9250513 h 104"/>
              <a:gd name="T68" fmla="*/ 17051918 w 164"/>
              <a:gd name="T69" fmla="*/ 5741542 h 104"/>
              <a:gd name="T70" fmla="*/ 14330750 w 164"/>
              <a:gd name="T71" fmla="*/ 5422442 h 104"/>
              <a:gd name="T72" fmla="*/ 12153900 w 164"/>
              <a:gd name="T73" fmla="*/ 4784806 h 104"/>
              <a:gd name="T74" fmla="*/ 11247128 w 164"/>
              <a:gd name="T75" fmla="*/ 4146606 h 104"/>
              <a:gd name="T76" fmla="*/ 10339930 w 164"/>
              <a:gd name="T77" fmla="*/ 3189871 h 104"/>
              <a:gd name="T78" fmla="*/ 9433157 w 164"/>
              <a:gd name="T79" fmla="*/ 1914036 h 104"/>
              <a:gd name="T80" fmla="*/ 8525959 w 164"/>
              <a:gd name="T81" fmla="*/ 0 h 104"/>
              <a:gd name="T82" fmla="*/ 26485076 w 164"/>
              <a:gd name="T83" fmla="*/ 0 h 104"/>
              <a:gd name="T84" fmla="*/ 26666089 w 164"/>
              <a:gd name="T85" fmla="*/ 1914036 h 104"/>
              <a:gd name="T86" fmla="*/ 26847529 w 164"/>
              <a:gd name="T87" fmla="*/ 4146606 h 104"/>
              <a:gd name="T88" fmla="*/ 27210408 w 164"/>
              <a:gd name="T89" fmla="*/ 6060642 h 104"/>
              <a:gd name="T90" fmla="*/ 27573288 w 164"/>
              <a:gd name="T91" fmla="*/ 7974113 h 104"/>
              <a:gd name="T92" fmla="*/ 28299046 w 164"/>
              <a:gd name="T93" fmla="*/ 11163983 h 104"/>
              <a:gd name="T94" fmla="*/ 28842939 w 164"/>
              <a:gd name="T95" fmla="*/ 14672954 h 104"/>
              <a:gd name="T96" fmla="*/ 29568698 w 164"/>
              <a:gd name="T97" fmla="*/ 17224625 h 104"/>
              <a:gd name="T98" fmla="*/ 29750137 w 164"/>
              <a:gd name="T99" fmla="*/ 19776296 h 104"/>
              <a:gd name="T100" fmla="*/ 29568698 w 164"/>
              <a:gd name="T101" fmla="*/ 20733596 h 104"/>
              <a:gd name="T102" fmla="*/ 29024379 w 164"/>
              <a:gd name="T103" fmla="*/ 21690332 h 104"/>
              <a:gd name="T104" fmla="*/ 28480486 w 164"/>
              <a:gd name="T105" fmla="*/ 22647067 h 104"/>
              <a:gd name="T106" fmla="*/ 27754727 w 164"/>
              <a:gd name="T107" fmla="*/ 23285267 h 104"/>
              <a:gd name="T108" fmla="*/ 27754727 w 164"/>
              <a:gd name="T109" fmla="*/ 33173415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77410" y="7965919"/>
            <a:ext cx="23813" cy="57150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42485" y="7945282"/>
            <a:ext cx="34925" cy="58737"/>
          </a:xfrm>
          <a:custGeom>
            <a:avLst/>
            <a:gdLst>
              <a:gd name="T0" fmla="*/ 0 w 80"/>
              <a:gd name="T1" fmla="*/ 0 h 18"/>
              <a:gd name="T2" fmla="*/ 190778 w 80"/>
              <a:gd name="T3" fmla="*/ 63889540 h 18"/>
              <a:gd name="T4" fmla="*/ 953016 w 80"/>
              <a:gd name="T5" fmla="*/ 127779080 h 18"/>
              <a:gd name="T6" fmla="*/ 1524913 w 80"/>
              <a:gd name="T7" fmla="*/ 149074506 h 18"/>
              <a:gd name="T8" fmla="*/ 2096373 w 80"/>
              <a:gd name="T9" fmla="*/ 170373195 h 18"/>
              <a:gd name="T10" fmla="*/ 2858611 w 80"/>
              <a:gd name="T11" fmla="*/ 191668621 h 18"/>
              <a:gd name="T12" fmla="*/ 3811627 w 80"/>
              <a:gd name="T13" fmla="*/ 191668621 h 18"/>
              <a:gd name="T14" fmla="*/ 4192746 w 80"/>
              <a:gd name="T15" fmla="*/ 159725482 h 18"/>
              <a:gd name="T16" fmla="*/ 4574302 w 80"/>
              <a:gd name="T17" fmla="*/ 138426793 h 18"/>
              <a:gd name="T18" fmla="*/ 4955421 w 80"/>
              <a:gd name="T19" fmla="*/ 117131368 h 18"/>
              <a:gd name="T20" fmla="*/ 5908000 w 80"/>
              <a:gd name="T21" fmla="*/ 106483655 h 18"/>
              <a:gd name="T22" fmla="*/ 7242135 w 80"/>
              <a:gd name="T23" fmla="*/ 85184966 h 18"/>
              <a:gd name="T24" fmla="*/ 8957389 w 80"/>
              <a:gd name="T25" fmla="*/ 74537253 h 18"/>
              <a:gd name="T26" fmla="*/ 10863421 w 80"/>
              <a:gd name="T27" fmla="*/ 74537253 h 18"/>
              <a:gd name="T28" fmla="*/ 12578675 w 80"/>
              <a:gd name="T29" fmla="*/ 63889540 h 18"/>
              <a:gd name="T30" fmla="*/ 13340913 w 80"/>
              <a:gd name="T31" fmla="*/ 53241827 h 18"/>
              <a:gd name="T32" fmla="*/ 14103588 w 80"/>
              <a:gd name="T33" fmla="*/ 42594115 h 18"/>
              <a:gd name="T34" fmla="*/ 14675048 w 80"/>
              <a:gd name="T35" fmla="*/ 21295426 h 18"/>
              <a:gd name="T36" fmla="*/ 1524694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42485" y="7924644"/>
            <a:ext cx="22225" cy="60325"/>
          </a:xfrm>
          <a:custGeom>
            <a:avLst/>
            <a:gdLst>
              <a:gd name="T0" fmla="*/ 4668699 w 46"/>
              <a:gd name="T1" fmla="*/ 0 h 27"/>
              <a:gd name="T2" fmla="*/ 0 w 46"/>
              <a:gd name="T3" fmla="*/ 89855205 h 27"/>
              <a:gd name="T4" fmla="*/ 2100746 w 46"/>
              <a:gd name="T5" fmla="*/ 109822780 h 27"/>
              <a:gd name="T6" fmla="*/ 3734766 w 46"/>
              <a:gd name="T7" fmla="*/ 124796785 h 27"/>
              <a:gd name="T8" fmla="*/ 5369270 w 46"/>
              <a:gd name="T9" fmla="*/ 134781690 h 27"/>
              <a:gd name="T10" fmla="*/ 6769445 w 46"/>
              <a:gd name="T11" fmla="*/ 134781690 h 27"/>
              <a:gd name="T12" fmla="*/ 7703378 w 46"/>
              <a:gd name="T13" fmla="*/ 134781690 h 27"/>
              <a:gd name="T14" fmla="*/ 8637311 w 46"/>
              <a:gd name="T15" fmla="*/ 124796785 h 27"/>
              <a:gd name="T16" fmla="*/ 9804124 w 46"/>
              <a:gd name="T17" fmla="*/ 109822780 h 27"/>
              <a:gd name="T18" fmla="*/ 10738057 w 46"/>
              <a:gd name="T19" fmla="*/ 89855205 h 27"/>
              <a:gd name="T20" fmla="*/ 9570761 w 46"/>
              <a:gd name="T21" fmla="*/ 79870300 h 27"/>
              <a:gd name="T22" fmla="*/ 7703378 w 46"/>
              <a:gd name="T23" fmla="*/ 54911390 h 27"/>
              <a:gd name="T24" fmla="*/ 6069358 w 46"/>
              <a:gd name="T25" fmla="*/ 24958910 h 27"/>
              <a:gd name="T26" fmla="*/ 4668699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512323" y="7918294"/>
            <a:ext cx="25400" cy="60325"/>
          </a:xfrm>
          <a:custGeom>
            <a:avLst/>
            <a:gdLst>
              <a:gd name="T0" fmla="*/ 7522633 w 54"/>
              <a:gd name="T1" fmla="*/ 0 h 39"/>
              <a:gd name="T2" fmla="*/ 4424774 w 54"/>
              <a:gd name="T3" fmla="*/ 9570020 h 39"/>
              <a:gd name="T4" fmla="*/ 2212622 w 54"/>
              <a:gd name="T5" fmla="*/ 23925823 h 39"/>
              <a:gd name="T6" fmla="*/ 1327385 w 54"/>
              <a:gd name="T7" fmla="*/ 31102951 h 39"/>
              <a:gd name="T8" fmla="*/ 884767 w 54"/>
              <a:gd name="T9" fmla="*/ 38281626 h 39"/>
              <a:gd name="T10" fmla="*/ 442619 w 54"/>
              <a:gd name="T11" fmla="*/ 47851646 h 39"/>
              <a:gd name="T12" fmla="*/ 0 w 54"/>
              <a:gd name="T13" fmla="*/ 57421666 h 39"/>
              <a:gd name="T14" fmla="*/ 442619 w 54"/>
              <a:gd name="T15" fmla="*/ 66991686 h 39"/>
              <a:gd name="T16" fmla="*/ 663693 w 54"/>
              <a:gd name="T17" fmla="*/ 76561706 h 39"/>
              <a:gd name="T18" fmla="*/ 1106311 w 54"/>
              <a:gd name="T19" fmla="*/ 83740381 h 39"/>
              <a:gd name="T20" fmla="*/ 1770004 w 54"/>
              <a:gd name="T21" fmla="*/ 88524617 h 39"/>
              <a:gd name="T22" fmla="*/ 2433696 w 54"/>
              <a:gd name="T23" fmla="*/ 90917509 h 39"/>
              <a:gd name="T24" fmla="*/ 3540007 w 54"/>
              <a:gd name="T25" fmla="*/ 93310401 h 39"/>
              <a:gd name="T26" fmla="*/ 4424774 w 54"/>
              <a:gd name="T27" fmla="*/ 93310401 h 39"/>
              <a:gd name="T28" fmla="*/ 5531085 w 54"/>
              <a:gd name="T29" fmla="*/ 93310401 h 39"/>
              <a:gd name="T30" fmla="*/ 6637396 w 54"/>
              <a:gd name="T31" fmla="*/ 90917509 h 39"/>
              <a:gd name="T32" fmla="*/ 7522633 w 54"/>
              <a:gd name="T33" fmla="*/ 88524617 h 39"/>
              <a:gd name="T34" fmla="*/ 8628474 w 54"/>
              <a:gd name="T35" fmla="*/ 83740381 h 39"/>
              <a:gd name="T36" fmla="*/ 9513711 w 54"/>
              <a:gd name="T37" fmla="*/ 78954597 h 39"/>
              <a:gd name="T38" fmla="*/ 10398478 w 54"/>
              <a:gd name="T39" fmla="*/ 71777469 h 39"/>
              <a:gd name="T40" fmla="*/ 11062641 w 54"/>
              <a:gd name="T41" fmla="*/ 62207449 h 39"/>
              <a:gd name="T42" fmla="*/ 11504789 w 54"/>
              <a:gd name="T43" fmla="*/ 52635883 h 39"/>
              <a:gd name="T44" fmla="*/ 11947407 w 54"/>
              <a:gd name="T45" fmla="*/ 43065863 h 39"/>
              <a:gd name="T46" fmla="*/ 11283715 w 54"/>
              <a:gd name="T47" fmla="*/ 40674518 h 39"/>
              <a:gd name="T48" fmla="*/ 10620022 w 54"/>
              <a:gd name="T49" fmla="*/ 38281626 h 39"/>
              <a:gd name="T50" fmla="*/ 9734785 w 54"/>
              <a:gd name="T51" fmla="*/ 33495843 h 39"/>
              <a:gd name="T52" fmla="*/ 9292637 w 54"/>
              <a:gd name="T53" fmla="*/ 26318715 h 39"/>
              <a:gd name="T54" fmla="*/ 8628474 w 54"/>
              <a:gd name="T55" fmla="*/ 19140040 h 39"/>
              <a:gd name="T56" fmla="*/ 8186326 w 54"/>
              <a:gd name="T57" fmla="*/ 11962912 h 39"/>
              <a:gd name="T58" fmla="*/ 7522633 w 54"/>
              <a:gd name="T59" fmla="*/ 4785783 h 39"/>
              <a:gd name="T60" fmla="*/ 752263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36307" y="7908769"/>
            <a:ext cx="28575" cy="58738"/>
          </a:xfrm>
          <a:custGeom>
            <a:avLst/>
            <a:gdLst>
              <a:gd name="T0" fmla="*/ 0 w 60"/>
              <a:gd name="T1" fmla="*/ 168675957 h 15"/>
              <a:gd name="T2" fmla="*/ 2268379 w 60"/>
              <a:gd name="T3" fmla="*/ 199341109 h 15"/>
              <a:gd name="T4" fmla="*/ 4082891 w 60"/>
              <a:gd name="T5" fmla="*/ 214675642 h 15"/>
              <a:gd name="T6" fmla="*/ 6124099 w 60"/>
              <a:gd name="T7" fmla="*/ 230010176 h 15"/>
              <a:gd name="T8" fmla="*/ 7938611 w 60"/>
              <a:gd name="T9" fmla="*/ 230010176 h 15"/>
              <a:gd name="T10" fmla="*/ 9299258 w 60"/>
              <a:gd name="T11" fmla="*/ 214675642 h 15"/>
              <a:gd name="T12" fmla="*/ 10887075 w 60"/>
              <a:gd name="T13" fmla="*/ 184006575 h 15"/>
              <a:gd name="T14" fmla="*/ 12474893 w 60"/>
              <a:gd name="T15" fmla="*/ 138006889 h 15"/>
              <a:gd name="T16" fmla="*/ 13608844 w 60"/>
              <a:gd name="T17" fmla="*/ 76668753 h 15"/>
              <a:gd name="T18" fmla="*/ 12928283 w 60"/>
              <a:gd name="T19" fmla="*/ 46003602 h 15"/>
              <a:gd name="T20" fmla="*/ 12248198 w 60"/>
              <a:gd name="T21" fmla="*/ 0 h 15"/>
              <a:gd name="T22" fmla="*/ 11567636 w 60"/>
              <a:gd name="T23" fmla="*/ 0 h 15"/>
              <a:gd name="T24" fmla="*/ 10660380 w 60"/>
              <a:gd name="T25" fmla="*/ 0 h 15"/>
              <a:gd name="T26" fmla="*/ 9072563 w 60"/>
              <a:gd name="T27" fmla="*/ 0 h 15"/>
              <a:gd name="T28" fmla="*/ 7484745 w 60"/>
              <a:gd name="T29" fmla="*/ 46003602 h 15"/>
              <a:gd name="T30" fmla="*/ 5443538 w 60"/>
              <a:gd name="T31" fmla="*/ 92003287 h 15"/>
              <a:gd name="T32" fmla="*/ 3629025 w 60"/>
              <a:gd name="T33" fmla="*/ 122672355 h 15"/>
              <a:gd name="T34" fmla="*/ 1587818 w 60"/>
              <a:gd name="T35" fmla="*/ 153341423 h 15"/>
              <a:gd name="T36" fmla="*/ 0 w 60"/>
              <a:gd name="T37" fmla="*/ 16867595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712494" y="7896069"/>
            <a:ext cx="33338" cy="57150"/>
          </a:xfrm>
          <a:custGeom>
            <a:avLst/>
            <a:gdLst>
              <a:gd name="T0" fmla="*/ 7123360 w 79"/>
              <a:gd name="T1" fmla="*/ 0 h 32"/>
              <a:gd name="T2" fmla="*/ 6054856 w 79"/>
              <a:gd name="T3" fmla="*/ 3189684 h 32"/>
              <a:gd name="T4" fmla="*/ 5342520 w 79"/>
              <a:gd name="T5" fmla="*/ 6379369 h 32"/>
              <a:gd name="T6" fmla="*/ 4452100 w 79"/>
              <a:gd name="T7" fmla="*/ 12758738 h 32"/>
              <a:gd name="T8" fmla="*/ 3561680 w 79"/>
              <a:gd name="T9" fmla="*/ 19138106 h 32"/>
              <a:gd name="T10" fmla="*/ 2671260 w 79"/>
              <a:gd name="T11" fmla="*/ 28705373 h 32"/>
              <a:gd name="T12" fmla="*/ 1780840 w 79"/>
              <a:gd name="T13" fmla="*/ 35084742 h 32"/>
              <a:gd name="T14" fmla="*/ 890420 w 79"/>
              <a:gd name="T15" fmla="*/ 38274427 h 32"/>
              <a:gd name="T16" fmla="*/ 0 w 79"/>
              <a:gd name="T17" fmla="*/ 41464111 h 32"/>
              <a:gd name="T18" fmla="*/ 890420 w 79"/>
              <a:gd name="T19" fmla="*/ 66981586 h 32"/>
              <a:gd name="T20" fmla="*/ 1780840 w 79"/>
              <a:gd name="T21" fmla="*/ 82928222 h 32"/>
              <a:gd name="T22" fmla="*/ 2137008 w 79"/>
              <a:gd name="T23" fmla="*/ 92497275 h 32"/>
              <a:gd name="T24" fmla="*/ 2671260 w 79"/>
              <a:gd name="T25" fmla="*/ 98876644 h 32"/>
              <a:gd name="T26" fmla="*/ 3205512 w 79"/>
              <a:gd name="T27" fmla="*/ 98876644 h 32"/>
              <a:gd name="T28" fmla="*/ 3561680 w 79"/>
              <a:gd name="T29" fmla="*/ 102066328 h 32"/>
              <a:gd name="T30" fmla="*/ 4808268 w 79"/>
              <a:gd name="T31" fmla="*/ 98876644 h 32"/>
              <a:gd name="T32" fmla="*/ 6054856 w 79"/>
              <a:gd name="T33" fmla="*/ 95686959 h 32"/>
              <a:gd name="T34" fmla="*/ 7301444 w 79"/>
              <a:gd name="T35" fmla="*/ 86117906 h 32"/>
              <a:gd name="T36" fmla="*/ 8548032 w 79"/>
              <a:gd name="T37" fmla="*/ 76550639 h 32"/>
              <a:gd name="T38" fmla="*/ 11041208 w 79"/>
              <a:gd name="T39" fmla="*/ 57412533 h 32"/>
              <a:gd name="T40" fmla="*/ 14068636 w 79"/>
              <a:gd name="T41" fmla="*/ 41464111 h 32"/>
              <a:gd name="T42" fmla="*/ 11931628 w 79"/>
              <a:gd name="T43" fmla="*/ 19138106 h 32"/>
              <a:gd name="T44" fmla="*/ 10328872 w 79"/>
              <a:gd name="T45" fmla="*/ 6379369 h 32"/>
              <a:gd name="T46" fmla="*/ 8726116 w 79"/>
              <a:gd name="T47" fmla="*/ 3189684 h 32"/>
              <a:gd name="T48" fmla="*/ 712336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706144" y="7877019"/>
            <a:ext cx="30163" cy="57150"/>
          </a:xfrm>
          <a:custGeom>
            <a:avLst/>
            <a:gdLst>
              <a:gd name="T0" fmla="*/ 6892703 w 66"/>
              <a:gd name="T1" fmla="*/ 0 h 19"/>
              <a:gd name="T2" fmla="*/ 5221398 w 66"/>
              <a:gd name="T3" fmla="*/ 9047747 h 19"/>
              <a:gd name="T4" fmla="*/ 3968263 w 66"/>
              <a:gd name="T5" fmla="*/ 18095495 h 19"/>
              <a:gd name="T6" fmla="*/ 2715127 w 66"/>
              <a:gd name="T7" fmla="*/ 36190989 h 19"/>
              <a:gd name="T8" fmla="*/ 1879703 w 66"/>
              <a:gd name="T9" fmla="*/ 63331224 h 19"/>
              <a:gd name="T10" fmla="*/ 1044280 w 66"/>
              <a:gd name="T11" fmla="*/ 99522213 h 19"/>
              <a:gd name="T12" fmla="*/ 417712 w 66"/>
              <a:gd name="T13" fmla="*/ 126665455 h 19"/>
              <a:gd name="T14" fmla="*/ 0 w 66"/>
              <a:gd name="T15" fmla="*/ 153805689 h 19"/>
              <a:gd name="T16" fmla="*/ 0 w 66"/>
              <a:gd name="T17" fmla="*/ 171901184 h 19"/>
              <a:gd name="T18" fmla="*/ 3968263 w 66"/>
              <a:gd name="T19" fmla="*/ 171901184 h 19"/>
              <a:gd name="T20" fmla="*/ 7936982 w 66"/>
              <a:gd name="T21" fmla="*/ 171901184 h 19"/>
              <a:gd name="T22" fmla="*/ 9607830 w 66"/>
              <a:gd name="T23" fmla="*/ 162853437 h 19"/>
              <a:gd name="T24" fmla="*/ 11278677 w 66"/>
              <a:gd name="T25" fmla="*/ 153805689 h 19"/>
              <a:gd name="T26" fmla="*/ 12740668 w 66"/>
              <a:gd name="T27" fmla="*/ 135710195 h 19"/>
              <a:gd name="T28" fmla="*/ 13784948 w 66"/>
              <a:gd name="T29" fmla="*/ 117617708 h 19"/>
              <a:gd name="T30" fmla="*/ 11905245 w 66"/>
              <a:gd name="T31" fmla="*/ 72378971 h 19"/>
              <a:gd name="T32" fmla="*/ 10443253 w 66"/>
              <a:gd name="T33" fmla="*/ 36190989 h 19"/>
              <a:gd name="T34" fmla="*/ 8772406 w 66"/>
              <a:gd name="T35" fmla="*/ 9047747 h 19"/>
              <a:gd name="T36" fmla="*/ 6892703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606132" y="7567457"/>
            <a:ext cx="25400" cy="60325"/>
          </a:xfrm>
          <a:custGeom>
            <a:avLst/>
            <a:gdLst>
              <a:gd name="T0" fmla="*/ 2985698 w 53"/>
              <a:gd name="T1" fmla="*/ 0 h 80"/>
              <a:gd name="T2" fmla="*/ 1837426 w 53"/>
              <a:gd name="T3" fmla="*/ 2842816 h 80"/>
              <a:gd name="T4" fmla="*/ 918713 w 53"/>
              <a:gd name="T5" fmla="*/ 5686385 h 80"/>
              <a:gd name="T6" fmla="*/ 459117 w 53"/>
              <a:gd name="T7" fmla="*/ 7392075 h 80"/>
              <a:gd name="T8" fmla="*/ 229558 w 53"/>
              <a:gd name="T9" fmla="*/ 9097764 h 80"/>
              <a:gd name="T10" fmla="*/ 0 w 53"/>
              <a:gd name="T11" fmla="*/ 11372017 h 80"/>
              <a:gd name="T12" fmla="*/ 0 w 53"/>
              <a:gd name="T13" fmla="*/ 14215586 h 80"/>
              <a:gd name="T14" fmla="*/ 0 w 53"/>
              <a:gd name="T15" fmla="*/ 17058402 h 80"/>
              <a:gd name="T16" fmla="*/ 459117 w 53"/>
              <a:gd name="T17" fmla="*/ 22175470 h 80"/>
              <a:gd name="T18" fmla="*/ 1377830 w 53"/>
              <a:gd name="T19" fmla="*/ 27293292 h 80"/>
              <a:gd name="T20" fmla="*/ 2066985 w 53"/>
              <a:gd name="T21" fmla="*/ 32411114 h 80"/>
              <a:gd name="T22" fmla="*/ 2985698 w 53"/>
              <a:gd name="T23" fmla="*/ 37528183 h 80"/>
              <a:gd name="T24" fmla="*/ 4593566 w 53"/>
              <a:gd name="T25" fmla="*/ 41508878 h 80"/>
              <a:gd name="T26" fmla="*/ 5052683 w 53"/>
              <a:gd name="T27" fmla="*/ 43214568 h 80"/>
              <a:gd name="T28" fmla="*/ 5971396 w 53"/>
              <a:gd name="T29" fmla="*/ 44351694 h 80"/>
              <a:gd name="T30" fmla="*/ 6890109 w 53"/>
              <a:gd name="T31" fmla="*/ 45488820 h 80"/>
              <a:gd name="T32" fmla="*/ 7579264 w 53"/>
              <a:gd name="T33" fmla="*/ 45488820 h 80"/>
              <a:gd name="T34" fmla="*/ 8268419 w 53"/>
              <a:gd name="T35" fmla="*/ 44920257 h 80"/>
              <a:gd name="T36" fmla="*/ 8727536 w 53"/>
              <a:gd name="T37" fmla="*/ 44351694 h 80"/>
              <a:gd name="T38" fmla="*/ 9646249 w 53"/>
              <a:gd name="T39" fmla="*/ 43214568 h 80"/>
              <a:gd name="T40" fmla="*/ 10335404 w 53"/>
              <a:gd name="T41" fmla="*/ 41508878 h 80"/>
              <a:gd name="T42" fmla="*/ 11024558 w 53"/>
              <a:gd name="T43" fmla="*/ 39802435 h 80"/>
              <a:gd name="T44" fmla="*/ 11713713 w 53"/>
              <a:gd name="T45" fmla="*/ 38096746 h 80"/>
              <a:gd name="T46" fmla="*/ 12172830 w 53"/>
              <a:gd name="T47" fmla="*/ 36391056 h 80"/>
              <a:gd name="T48" fmla="*/ 12172830 w 53"/>
              <a:gd name="T49" fmla="*/ 35253930 h 80"/>
              <a:gd name="T50" fmla="*/ 11943272 w 53"/>
              <a:gd name="T51" fmla="*/ 30704671 h 80"/>
              <a:gd name="T52" fmla="*/ 11254117 w 53"/>
              <a:gd name="T53" fmla="*/ 26724729 h 80"/>
              <a:gd name="T54" fmla="*/ 10564962 w 53"/>
              <a:gd name="T55" fmla="*/ 23881913 h 80"/>
              <a:gd name="T56" fmla="*/ 9876287 w 53"/>
              <a:gd name="T57" fmla="*/ 21038344 h 80"/>
              <a:gd name="T58" fmla="*/ 9187132 w 53"/>
              <a:gd name="T59" fmla="*/ 18195528 h 80"/>
              <a:gd name="T60" fmla="*/ 8268419 w 53"/>
              <a:gd name="T61" fmla="*/ 15352713 h 80"/>
              <a:gd name="T62" fmla="*/ 7808823 w 53"/>
              <a:gd name="T63" fmla="*/ 11372017 h 80"/>
              <a:gd name="T64" fmla="*/ 7579264 w 53"/>
              <a:gd name="T65" fmla="*/ 6823512 h 80"/>
              <a:gd name="T66" fmla="*/ 7579264 w 53"/>
              <a:gd name="T67" fmla="*/ 5686385 h 80"/>
              <a:gd name="T68" fmla="*/ 7120147 w 53"/>
              <a:gd name="T69" fmla="*/ 4549259 h 80"/>
              <a:gd name="T70" fmla="*/ 6660551 w 53"/>
              <a:gd name="T71" fmla="*/ 3411379 h 80"/>
              <a:gd name="T72" fmla="*/ 5741838 w 53"/>
              <a:gd name="T73" fmla="*/ 2274253 h 80"/>
              <a:gd name="T74" fmla="*/ 4364008 w 53"/>
              <a:gd name="T75" fmla="*/ 568563 h 80"/>
              <a:gd name="T76" fmla="*/ 2985698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636294" y="7662707"/>
            <a:ext cx="17463" cy="53975"/>
          </a:xfrm>
          <a:custGeom>
            <a:avLst/>
            <a:gdLst>
              <a:gd name="T0" fmla="*/ 0 w 41"/>
              <a:gd name="T1" fmla="*/ 67751177 h 43"/>
              <a:gd name="T2" fmla="*/ 4898159 w 41"/>
              <a:gd name="T3" fmla="*/ 67751177 h 43"/>
              <a:gd name="T4" fmla="*/ 7437960 w 41"/>
              <a:gd name="T5" fmla="*/ 37815136 h 43"/>
              <a:gd name="T6" fmla="*/ 6893626 w 41"/>
              <a:gd name="T7" fmla="*/ 18907568 h 43"/>
              <a:gd name="T8" fmla="*/ 6168272 w 41"/>
              <a:gd name="T9" fmla="*/ 0 h 43"/>
              <a:gd name="T10" fmla="*/ 4898159 w 41"/>
              <a:gd name="T11" fmla="*/ 6302523 h 43"/>
              <a:gd name="T12" fmla="*/ 3628471 w 41"/>
              <a:gd name="T13" fmla="*/ 14180362 h 43"/>
              <a:gd name="T14" fmla="*/ 2721247 w 41"/>
              <a:gd name="T15" fmla="*/ 22058202 h 43"/>
              <a:gd name="T16" fmla="*/ 1814022 w 41"/>
              <a:gd name="T17" fmla="*/ 29936041 h 43"/>
              <a:gd name="T18" fmla="*/ 1088669 w 41"/>
              <a:gd name="T19" fmla="*/ 37815136 h 43"/>
              <a:gd name="T20" fmla="*/ 544334 w 41"/>
              <a:gd name="T21" fmla="*/ 47268292 h 43"/>
              <a:gd name="T22" fmla="*/ 181445 w 41"/>
              <a:gd name="T23" fmla="*/ 58298021 h 43"/>
              <a:gd name="T24" fmla="*/ 0 w 41"/>
              <a:gd name="T25" fmla="*/ 6775117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641057" y="7684932"/>
            <a:ext cx="7937" cy="58737"/>
          </a:xfrm>
          <a:custGeom>
            <a:avLst/>
            <a:gdLst>
              <a:gd name="T0" fmla="*/ 3149798 w 20"/>
              <a:gd name="T1" fmla="*/ 0 h 24"/>
              <a:gd name="T2" fmla="*/ 0 w 20"/>
              <a:gd name="T3" fmla="*/ 0 h 24"/>
              <a:gd name="T4" fmla="*/ 157549 w 20"/>
              <a:gd name="T5" fmla="*/ 29948528 h 24"/>
              <a:gd name="T6" fmla="*/ 315099 w 20"/>
              <a:gd name="T7" fmla="*/ 53905882 h 24"/>
              <a:gd name="T8" fmla="*/ 629801 w 20"/>
              <a:gd name="T9" fmla="*/ 77865683 h 24"/>
              <a:gd name="T10" fmla="*/ 1102449 w 20"/>
              <a:gd name="T11" fmla="*/ 101823037 h 24"/>
              <a:gd name="T12" fmla="*/ 1575098 w 20"/>
              <a:gd name="T13" fmla="*/ 119794112 h 24"/>
              <a:gd name="T14" fmla="*/ 2204899 w 20"/>
              <a:gd name="T15" fmla="*/ 131771565 h 24"/>
              <a:gd name="T16" fmla="*/ 2677150 w 20"/>
              <a:gd name="T17" fmla="*/ 143751465 h 24"/>
              <a:gd name="T18" fmla="*/ 3149798 w 20"/>
              <a:gd name="T19" fmla="*/ 143751465 h 24"/>
              <a:gd name="T20" fmla="*/ 3149798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655344" y="7746844"/>
            <a:ext cx="17463" cy="60325"/>
          </a:xfrm>
          <a:custGeom>
            <a:avLst/>
            <a:gdLst>
              <a:gd name="T0" fmla="*/ 0 w 39"/>
              <a:gd name="T1" fmla="*/ 23617939 h 43"/>
              <a:gd name="T2" fmla="*/ 401201 w 39"/>
              <a:gd name="T3" fmla="*/ 33457928 h 43"/>
              <a:gd name="T4" fmla="*/ 1203156 w 39"/>
              <a:gd name="T5" fmla="*/ 43299321 h 43"/>
              <a:gd name="T6" fmla="*/ 2405864 w 39"/>
              <a:gd name="T7" fmla="*/ 53139310 h 43"/>
              <a:gd name="T8" fmla="*/ 3207819 w 39"/>
              <a:gd name="T9" fmla="*/ 62980703 h 43"/>
              <a:gd name="T10" fmla="*/ 4611575 w 39"/>
              <a:gd name="T11" fmla="*/ 72822095 h 43"/>
              <a:gd name="T12" fmla="*/ 5614131 w 39"/>
              <a:gd name="T13" fmla="*/ 78725528 h 43"/>
              <a:gd name="T14" fmla="*/ 6816839 w 39"/>
              <a:gd name="T15" fmla="*/ 84630363 h 43"/>
              <a:gd name="T16" fmla="*/ 7819394 w 39"/>
              <a:gd name="T17" fmla="*/ 84630363 h 43"/>
              <a:gd name="T18" fmla="*/ 7618793 w 39"/>
              <a:gd name="T19" fmla="*/ 62980703 h 43"/>
              <a:gd name="T20" fmla="*/ 7218040 w 39"/>
              <a:gd name="T21" fmla="*/ 37394485 h 43"/>
              <a:gd name="T22" fmla="*/ 6816839 w 39"/>
              <a:gd name="T23" fmla="*/ 15744825 h 43"/>
              <a:gd name="T24" fmla="*/ 6416085 w 39"/>
              <a:gd name="T25" fmla="*/ 0 h 43"/>
              <a:gd name="T26" fmla="*/ 3809621 w 39"/>
              <a:gd name="T27" fmla="*/ 5904835 h 43"/>
              <a:gd name="T28" fmla="*/ 1203156 w 39"/>
              <a:gd name="T29" fmla="*/ 11808268 h 43"/>
              <a:gd name="T30" fmla="*/ 0 w 39"/>
              <a:gd name="T31" fmla="*/ 23617939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642644" y="7759544"/>
            <a:ext cx="26988" cy="58738"/>
          </a:xfrm>
          <a:custGeom>
            <a:avLst/>
            <a:gdLst>
              <a:gd name="T0" fmla="*/ 6982532 w 55"/>
              <a:gd name="T1" fmla="*/ 23336039 h 62"/>
              <a:gd name="T2" fmla="*/ 1926453 w 55"/>
              <a:gd name="T3" fmla="*/ 0 h 62"/>
              <a:gd name="T4" fmla="*/ 963226 w 55"/>
              <a:gd name="T5" fmla="*/ 4487773 h 62"/>
              <a:gd name="T6" fmla="*/ 240929 w 55"/>
              <a:gd name="T7" fmla="*/ 9872721 h 62"/>
              <a:gd name="T8" fmla="*/ 0 w 55"/>
              <a:gd name="T9" fmla="*/ 14360494 h 62"/>
              <a:gd name="T10" fmla="*/ 0 w 55"/>
              <a:gd name="T11" fmla="*/ 18848266 h 62"/>
              <a:gd name="T12" fmla="*/ 481368 w 55"/>
              <a:gd name="T13" fmla="*/ 23336039 h 62"/>
              <a:gd name="T14" fmla="*/ 963226 w 55"/>
              <a:gd name="T15" fmla="*/ 27823812 h 62"/>
              <a:gd name="T16" fmla="*/ 1926453 w 55"/>
              <a:gd name="T17" fmla="*/ 32311584 h 62"/>
              <a:gd name="T18" fmla="*/ 2648750 w 55"/>
              <a:gd name="T19" fmla="*/ 36799357 h 62"/>
              <a:gd name="T20" fmla="*/ 3852414 w 55"/>
              <a:gd name="T21" fmla="*/ 40389007 h 62"/>
              <a:gd name="T22" fmla="*/ 5056570 w 55"/>
              <a:gd name="T23" fmla="*/ 43979604 h 62"/>
              <a:gd name="T24" fmla="*/ 6260235 w 55"/>
              <a:gd name="T25" fmla="*/ 47570201 h 62"/>
              <a:gd name="T26" fmla="*/ 7945758 w 55"/>
              <a:gd name="T27" fmla="*/ 50262675 h 62"/>
              <a:gd name="T28" fmla="*/ 9149423 w 55"/>
              <a:gd name="T29" fmla="*/ 52057026 h 62"/>
              <a:gd name="T30" fmla="*/ 10594017 w 55"/>
              <a:gd name="T31" fmla="*/ 53852325 h 62"/>
              <a:gd name="T32" fmla="*/ 11798172 w 55"/>
              <a:gd name="T33" fmla="*/ 54750448 h 62"/>
              <a:gd name="T34" fmla="*/ 13242766 w 55"/>
              <a:gd name="T35" fmla="*/ 55647623 h 62"/>
              <a:gd name="T36" fmla="*/ 13001837 w 55"/>
              <a:gd name="T37" fmla="*/ 47570201 h 62"/>
              <a:gd name="T38" fmla="*/ 12761398 w 55"/>
              <a:gd name="T39" fmla="*/ 41287130 h 62"/>
              <a:gd name="T40" fmla="*/ 11798172 w 55"/>
              <a:gd name="T41" fmla="*/ 35901234 h 62"/>
              <a:gd name="T42" fmla="*/ 11075875 w 55"/>
              <a:gd name="T43" fmla="*/ 31414409 h 62"/>
              <a:gd name="T44" fmla="*/ 10353578 w 55"/>
              <a:gd name="T45" fmla="*/ 27823812 h 62"/>
              <a:gd name="T46" fmla="*/ 9149423 w 55"/>
              <a:gd name="T47" fmla="*/ 25131338 h 62"/>
              <a:gd name="T48" fmla="*/ 7945758 w 55"/>
              <a:gd name="T49" fmla="*/ 23336039 h 62"/>
              <a:gd name="T50" fmla="*/ 6982532 w 55"/>
              <a:gd name="T51" fmla="*/ 23336039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672807" y="7792882"/>
            <a:ext cx="11112" cy="58737"/>
          </a:xfrm>
          <a:custGeom>
            <a:avLst/>
            <a:gdLst>
              <a:gd name="T0" fmla="*/ 3326298 w 35"/>
              <a:gd name="T1" fmla="*/ 24257015 h 43"/>
              <a:gd name="T2" fmla="*/ 705453 w 35"/>
              <a:gd name="T3" fmla="*/ 0 h 43"/>
              <a:gd name="T4" fmla="*/ 403207 w 35"/>
              <a:gd name="T5" fmla="*/ 14927394 h 43"/>
              <a:gd name="T6" fmla="*/ 0 w 35"/>
              <a:gd name="T7" fmla="*/ 35452560 h 43"/>
              <a:gd name="T8" fmla="*/ 201603 w 35"/>
              <a:gd name="T9" fmla="*/ 52244513 h 43"/>
              <a:gd name="T10" fmla="*/ 503850 w 35"/>
              <a:gd name="T11" fmla="*/ 67171906 h 43"/>
              <a:gd name="T12" fmla="*/ 604810 w 35"/>
              <a:gd name="T13" fmla="*/ 72769679 h 43"/>
              <a:gd name="T14" fmla="*/ 806414 w 35"/>
              <a:gd name="T15" fmla="*/ 76501528 h 43"/>
              <a:gd name="T16" fmla="*/ 1108660 w 35"/>
              <a:gd name="T17" fmla="*/ 80233376 h 43"/>
              <a:gd name="T18" fmla="*/ 1411224 w 35"/>
              <a:gd name="T19" fmla="*/ 80233376 h 43"/>
              <a:gd name="T20" fmla="*/ 1814431 w 35"/>
              <a:gd name="T21" fmla="*/ 80233376 h 43"/>
              <a:gd name="T22" fmla="*/ 2217638 w 35"/>
              <a:gd name="T23" fmla="*/ 78367452 h 43"/>
              <a:gd name="T24" fmla="*/ 2620845 w 35"/>
              <a:gd name="T25" fmla="*/ 76501528 h 43"/>
              <a:gd name="T26" fmla="*/ 2822448 w 35"/>
              <a:gd name="T27" fmla="*/ 72769679 h 43"/>
              <a:gd name="T28" fmla="*/ 3124694 w 35"/>
              <a:gd name="T29" fmla="*/ 65305982 h 43"/>
              <a:gd name="T30" fmla="*/ 3326298 w 35"/>
              <a:gd name="T31" fmla="*/ 55976361 h 43"/>
              <a:gd name="T32" fmla="*/ 3527901 w 35"/>
              <a:gd name="T33" fmla="*/ 37318485 h 43"/>
              <a:gd name="T34" fmla="*/ 3326298 w 35"/>
              <a:gd name="T35" fmla="*/ 24257015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669632" y="7826219"/>
            <a:ext cx="20637" cy="55563"/>
          </a:xfrm>
          <a:custGeom>
            <a:avLst/>
            <a:gdLst>
              <a:gd name="T0" fmla="*/ 8035581 w 53"/>
              <a:gd name="T1" fmla="*/ 0 h 21"/>
              <a:gd name="T2" fmla="*/ 6216020 w 53"/>
              <a:gd name="T3" fmla="*/ 7000938 h 21"/>
              <a:gd name="T4" fmla="*/ 4851642 w 53"/>
              <a:gd name="T5" fmla="*/ 14001876 h 21"/>
              <a:gd name="T6" fmla="*/ 3790199 w 53"/>
              <a:gd name="T7" fmla="*/ 35002044 h 21"/>
              <a:gd name="T8" fmla="*/ 3183939 w 53"/>
              <a:gd name="T9" fmla="*/ 49003920 h 21"/>
              <a:gd name="T10" fmla="*/ 2577289 w 53"/>
              <a:gd name="T11" fmla="*/ 70006734 h 21"/>
              <a:gd name="T12" fmla="*/ 1971028 w 53"/>
              <a:gd name="T13" fmla="*/ 91006902 h 21"/>
              <a:gd name="T14" fmla="*/ 1212910 w 53"/>
              <a:gd name="T15" fmla="*/ 112009716 h 21"/>
              <a:gd name="T16" fmla="*/ 0 w 53"/>
              <a:gd name="T17" fmla="*/ 126008946 h 21"/>
              <a:gd name="T18" fmla="*/ 758118 w 53"/>
              <a:gd name="T19" fmla="*/ 140010822 h 21"/>
              <a:gd name="T20" fmla="*/ 1667703 w 53"/>
              <a:gd name="T21" fmla="*/ 147011760 h 21"/>
              <a:gd name="T22" fmla="*/ 2577289 w 53"/>
              <a:gd name="T23" fmla="*/ 147011760 h 21"/>
              <a:gd name="T24" fmla="*/ 3638731 w 53"/>
              <a:gd name="T25" fmla="*/ 147011760 h 21"/>
              <a:gd name="T26" fmla="*/ 5761227 w 53"/>
              <a:gd name="T27" fmla="*/ 133009884 h 21"/>
              <a:gd name="T28" fmla="*/ 8035581 w 53"/>
              <a:gd name="T29" fmla="*/ 126008946 h 21"/>
              <a:gd name="T30" fmla="*/ 8035581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693444" y="7840507"/>
            <a:ext cx="17463" cy="57150"/>
          </a:xfrm>
          <a:custGeom>
            <a:avLst/>
            <a:gdLst>
              <a:gd name="T0" fmla="*/ 3628649 w 43"/>
              <a:gd name="T1" fmla="*/ 0 h 38"/>
              <a:gd name="T2" fmla="*/ 1979005 w 43"/>
              <a:gd name="T3" fmla="*/ 0 h 38"/>
              <a:gd name="T4" fmla="*/ 329766 w 43"/>
              <a:gd name="T5" fmla="*/ 0 h 38"/>
              <a:gd name="T6" fmla="*/ 164883 w 43"/>
              <a:gd name="T7" fmla="*/ 0 h 38"/>
              <a:gd name="T8" fmla="*/ 0 w 43"/>
              <a:gd name="T9" fmla="*/ 2261937 h 38"/>
              <a:gd name="T10" fmla="*/ 0 w 43"/>
              <a:gd name="T11" fmla="*/ 6785811 h 38"/>
              <a:gd name="T12" fmla="*/ 0 w 43"/>
              <a:gd name="T13" fmla="*/ 13571621 h 38"/>
              <a:gd name="T14" fmla="*/ 164883 w 43"/>
              <a:gd name="T15" fmla="*/ 22617864 h 38"/>
              <a:gd name="T16" fmla="*/ 329766 w 43"/>
              <a:gd name="T17" fmla="*/ 27141738 h 38"/>
              <a:gd name="T18" fmla="*/ 494650 w 43"/>
              <a:gd name="T19" fmla="*/ 40713359 h 38"/>
              <a:gd name="T20" fmla="*/ 824822 w 43"/>
              <a:gd name="T21" fmla="*/ 56546917 h 38"/>
              <a:gd name="T22" fmla="*/ 1649238 w 43"/>
              <a:gd name="T23" fmla="*/ 67855097 h 38"/>
              <a:gd name="T24" fmla="*/ 2474060 w 43"/>
              <a:gd name="T25" fmla="*/ 76902845 h 38"/>
              <a:gd name="T26" fmla="*/ 3463360 w 43"/>
              <a:gd name="T27" fmla="*/ 83688655 h 38"/>
              <a:gd name="T28" fmla="*/ 4453065 w 43"/>
              <a:gd name="T29" fmla="*/ 85950592 h 38"/>
              <a:gd name="T30" fmla="*/ 5772537 w 43"/>
              <a:gd name="T31" fmla="*/ 85950592 h 38"/>
              <a:gd name="T32" fmla="*/ 7092009 w 43"/>
              <a:gd name="T33" fmla="*/ 83688655 h 38"/>
              <a:gd name="T34" fmla="*/ 6597359 w 43"/>
              <a:gd name="T35" fmla="*/ 65593161 h 38"/>
              <a:gd name="T36" fmla="*/ 5937420 w 43"/>
              <a:gd name="T37" fmla="*/ 52023043 h 38"/>
              <a:gd name="T38" fmla="*/ 5442770 w 43"/>
              <a:gd name="T39" fmla="*/ 38451422 h 38"/>
              <a:gd name="T40" fmla="*/ 4947715 w 43"/>
              <a:gd name="T41" fmla="*/ 29403675 h 38"/>
              <a:gd name="T42" fmla="*/ 4453065 w 43"/>
              <a:gd name="T43" fmla="*/ 22617864 h 38"/>
              <a:gd name="T44" fmla="*/ 3958415 w 43"/>
              <a:gd name="T45" fmla="*/ 15833558 h 38"/>
              <a:gd name="T46" fmla="*/ 3793532 w 43"/>
              <a:gd name="T47" fmla="*/ 9047747 h 38"/>
              <a:gd name="T48" fmla="*/ 3628649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695032" y="7869082"/>
            <a:ext cx="6350" cy="57150"/>
          </a:xfrm>
          <a:custGeom>
            <a:avLst/>
            <a:gdLst>
              <a:gd name="T0" fmla="*/ 0 w 20"/>
              <a:gd name="T1" fmla="*/ 0 h 5"/>
              <a:gd name="T2" fmla="*/ 100965 w 20"/>
              <a:gd name="T3" fmla="*/ 261289800 h 5"/>
              <a:gd name="T4" fmla="*/ 201613 w 20"/>
              <a:gd name="T5" fmla="*/ 391934700 h 5"/>
              <a:gd name="T6" fmla="*/ 403225 w 20"/>
              <a:gd name="T7" fmla="*/ 522579600 h 5"/>
              <a:gd name="T8" fmla="*/ 705803 w 20"/>
              <a:gd name="T9" fmla="*/ 653224500 h 5"/>
              <a:gd name="T10" fmla="*/ 1109028 w 20"/>
              <a:gd name="T11" fmla="*/ 522579600 h 5"/>
              <a:gd name="T12" fmla="*/ 1411288 w 20"/>
              <a:gd name="T13" fmla="*/ 391934700 h 5"/>
              <a:gd name="T14" fmla="*/ 1713865 w 20"/>
              <a:gd name="T15" fmla="*/ 261289800 h 5"/>
              <a:gd name="T16" fmla="*/ 2016125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520260" y="7938932"/>
            <a:ext cx="34925" cy="57150"/>
          </a:xfrm>
          <a:custGeom>
            <a:avLst/>
            <a:gdLst>
              <a:gd name="T0" fmla="*/ 9155613 w 73"/>
              <a:gd name="T1" fmla="*/ 0 h 22"/>
              <a:gd name="T2" fmla="*/ 7324682 w 73"/>
              <a:gd name="T3" fmla="*/ 6748895 h 22"/>
              <a:gd name="T4" fmla="*/ 5951124 w 73"/>
              <a:gd name="T5" fmla="*/ 13495193 h 22"/>
              <a:gd name="T6" fmla="*/ 4577567 w 73"/>
              <a:gd name="T7" fmla="*/ 33741880 h 22"/>
              <a:gd name="T8" fmla="*/ 3433175 w 73"/>
              <a:gd name="T9" fmla="*/ 53985968 h 22"/>
              <a:gd name="T10" fmla="*/ 1373557 w 73"/>
              <a:gd name="T11" fmla="*/ 94474145 h 22"/>
              <a:gd name="T12" fmla="*/ 0 w 73"/>
              <a:gd name="T13" fmla="*/ 128216025 h 22"/>
              <a:gd name="T14" fmla="*/ 4577567 w 73"/>
              <a:gd name="T15" fmla="*/ 134964920 h 22"/>
              <a:gd name="T16" fmla="*/ 8926926 w 73"/>
              <a:gd name="T17" fmla="*/ 148460114 h 22"/>
              <a:gd name="T18" fmla="*/ 11215709 w 73"/>
              <a:gd name="T19" fmla="*/ 148460114 h 22"/>
              <a:gd name="T20" fmla="*/ 13046640 w 73"/>
              <a:gd name="T21" fmla="*/ 148460114 h 22"/>
              <a:gd name="T22" fmla="*/ 14878050 w 73"/>
              <a:gd name="T23" fmla="*/ 141711218 h 22"/>
              <a:gd name="T24" fmla="*/ 16708981 w 73"/>
              <a:gd name="T25" fmla="*/ 128216025 h 22"/>
              <a:gd name="T26" fmla="*/ 14648885 w 73"/>
              <a:gd name="T27" fmla="*/ 94474145 h 22"/>
              <a:gd name="T28" fmla="*/ 12817953 w 73"/>
              <a:gd name="T29" fmla="*/ 53985968 h 22"/>
              <a:gd name="T30" fmla="*/ 12131414 w 73"/>
              <a:gd name="T31" fmla="*/ 33741880 h 22"/>
              <a:gd name="T32" fmla="*/ 11215709 w 73"/>
              <a:gd name="T33" fmla="*/ 13495193 h 22"/>
              <a:gd name="T34" fmla="*/ 10071317 w 73"/>
              <a:gd name="T35" fmla="*/ 6748895 h 22"/>
              <a:gd name="T36" fmla="*/ 9155613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58360" y="7880194"/>
            <a:ext cx="123825" cy="100013"/>
          </a:xfrm>
          <a:custGeom>
            <a:avLst/>
            <a:gdLst>
              <a:gd name="T0" fmla="*/ 45632377 w 281"/>
              <a:gd name="T1" fmla="*/ 45113636 h 193"/>
              <a:gd name="T2" fmla="*/ 36505901 w 281"/>
              <a:gd name="T3" fmla="*/ 45919440 h 193"/>
              <a:gd name="T4" fmla="*/ 32622379 w 281"/>
              <a:gd name="T5" fmla="*/ 45113636 h 193"/>
              <a:gd name="T6" fmla="*/ 30097848 w 281"/>
              <a:gd name="T7" fmla="*/ 44039403 h 193"/>
              <a:gd name="T8" fmla="*/ 25243555 w 281"/>
              <a:gd name="T9" fmla="*/ 36251862 h 193"/>
              <a:gd name="T10" fmla="*/ 20194491 w 281"/>
              <a:gd name="T11" fmla="*/ 25242141 h 193"/>
              <a:gd name="T12" fmla="*/ 18252951 w 281"/>
              <a:gd name="T13" fmla="*/ 19871495 h 193"/>
              <a:gd name="T14" fmla="*/ 16893520 w 281"/>
              <a:gd name="T15" fmla="*/ 13695044 h 193"/>
              <a:gd name="T16" fmla="*/ 16117080 w 281"/>
              <a:gd name="T17" fmla="*/ 7250165 h 193"/>
              <a:gd name="T18" fmla="*/ 8349595 w 281"/>
              <a:gd name="T19" fmla="*/ 0 h 193"/>
              <a:gd name="T20" fmla="*/ 5436843 w 281"/>
              <a:gd name="T21" fmla="*/ 13963991 h 193"/>
              <a:gd name="T22" fmla="*/ 3495302 w 281"/>
              <a:gd name="T23" fmla="*/ 16380368 h 193"/>
              <a:gd name="T24" fmla="*/ 1165101 w 281"/>
              <a:gd name="T25" fmla="*/ 18528833 h 193"/>
              <a:gd name="T26" fmla="*/ 0 w 281"/>
              <a:gd name="T27" fmla="*/ 19603066 h 193"/>
              <a:gd name="T28" fmla="*/ 194330 w 281"/>
              <a:gd name="T29" fmla="*/ 20139924 h 193"/>
              <a:gd name="T30" fmla="*/ 1747651 w 281"/>
              <a:gd name="T31" fmla="*/ 21751014 h 193"/>
              <a:gd name="T32" fmla="*/ 7184494 w 281"/>
              <a:gd name="T33" fmla="*/ 29806983 h 193"/>
              <a:gd name="T34" fmla="*/ 8738255 w 281"/>
              <a:gd name="T35" fmla="*/ 32761253 h 193"/>
              <a:gd name="T36" fmla="*/ 10291576 w 281"/>
              <a:gd name="T37" fmla="*/ 34640772 h 193"/>
              <a:gd name="T38" fmla="*/ 12039227 w 281"/>
              <a:gd name="T39" fmla="*/ 35983434 h 193"/>
              <a:gd name="T40" fmla="*/ 13786878 w 281"/>
              <a:gd name="T41" fmla="*/ 36520291 h 193"/>
              <a:gd name="T42" fmla="*/ 14757649 w 281"/>
              <a:gd name="T43" fmla="*/ 37862953 h 193"/>
              <a:gd name="T44" fmla="*/ 15340199 w 281"/>
              <a:gd name="T45" fmla="*/ 39742990 h 193"/>
              <a:gd name="T46" fmla="*/ 16699630 w 281"/>
              <a:gd name="T47" fmla="*/ 41085651 h 193"/>
              <a:gd name="T48" fmla="*/ 19223721 w 281"/>
              <a:gd name="T49" fmla="*/ 41354080 h 193"/>
              <a:gd name="T50" fmla="*/ 20583152 w 281"/>
              <a:gd name="T51" fmla="*/ 42159884 h 193"/>
              <a:gd name="T52" fmla="*/ 21165702 w 281"/>
              <a:gd name="T53" fmla="*/ 43770974 h 193"/>
              <a:gd name="T54" fmla="*/ 21165702 w 281"/>
              <a:gd name="T55" fmla="*/ 48067388 h 193"/>
              <a:gd name="T56" fmla="*/ 21553923 w 281"/>
              <a:gd name="T57" fmla="*/ 50752711 h 193"/>
              <a:gd name="T58" fmla="*/ 22330803 w 281"/>
              <a:gd name="T59" fmla="*/ 51826944 h 193"/>
              <a:gd name="T60" fmla="*/ 25049225 w 281"/>
              <a:gd name="T61" fmla="*/ 51826944 h 193"/>
              <a:gd name="T62" fmla="*/ 31845499 w 281"/>
              <a:gd name="T63" fmla="*/ 51290087 h 193"/>
              <a:gd name="T64" fmla="*/ 34952581 w 281"/>
              <a:gd name="T65" fmla="*/ 50752711 h 193"/>
              <a:gd name="T66" fmla="*/ 37282341 w 281"/>
              <a:gd name="T67" fmla="*/ 49947425 h 193"/>
              <a:gd name="T68" fmla="*/ 41166304 w 281"/>
              <a:gd name="T69" fmla="*/ 50484282 h 193"/>
              <a:gd name="T70" fmla="*/ 54564522 w 281"/>
              <a:gd name="T71" fmla="*/ 4484520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360069" y="5646582"/>
            <a:ext cx="52388" cy="58737"/>
          </a:xfrm>
          <a:custGeom>
            <a:avLst/>
            <a:gdLst>
              <a:gd name="T0" fmla="*/ 0 w 120"/>
              <a:gd name="T1" fmla="*/ 19802760 h 56"/>
              <a:gd name="T2" fmla="*/ 762245 w 120"/>
              <a:gd name="T3" fmla="*/ 28603870 h 56"/>
              <a:gd name="T4" fmla="*/ 1906050 w 120"/>
              <a:gd name="T5" fmla="*/ 36304710 h 56"/>
              <a:gd name="T6" fmla="*/ 2859075 w 120"/>
              <a:gd name="T7" fmla="*/ 40704741 h 56"/>
              <a:gd name="T8" fmla="*/ 4002443 w 120"/>
              <a:gd name="T9" fmla="*/ 45105821 h 56"/>
              <a:gd name="T10" fmla="*/ 5145811 w 120"/>
              <a:gd name="T11" fmla="*/ 48406630 h 56"/>
              <a:gd name="T12" fmla="*/ 6670739 w 120"/>
              <a:gd name="T13" fmla="*/ 50606121 h 56"/>
              <a:gd name="T14" fmla="*/ 8195229 w 120"/>
              <a:gd name="T15" fmla="*/ 52806661 h 56"/>
              <a:gd name="T16" fmla="*/ 9720157 w 120"/>
              <a:gd name="T17" fmla="*/ 53906931 h 56"/>
              <a:gd name="T18" fmla="*/ 12769575 w 120"/>
              <a:gd name="T19" fmla="*/ 55007201 h 56"/>
              <a:gd name="T20" fmla="*/ 16200116 w 120"/>
              <a:gd name="T21" fmla="*/ 56107470 h 56"/>
              <a:gd name="T22" fmla="*/ 19440314 w 120"/>
              <a:gd name="T23" fmla="*/ 57207740 h 56"/>
              <a:gd name="T24" fmla="*/ 22870855 w 120"/>
              <a:gd name="T25" fmla="*/ 61607771 h 56"/>
              <a:gd name="T26" fmla="*/ 22870855 w 120"/>
              <a:gd name="T27" fmla="*/ 40704741 h 56"/>
              <a:gd name="T28" fmla="*/ 21155584 w 120"/>
              <a:gd name="T29" fmla="*/ 37404980 h 56"/>
              <a:gd name="T30" fmla="*/ 19440314 w 120"/>
              <a:gd name="T31" fmla="*/ 33003901 h 56"/>
              <a:gd name="T32" fmla="*/ 17915386 w 120"/>
              <a:gd name="T33" fmla="*/ 26403330 h 56"/>
              <a:gd name="T34" fmla="*/ 16772018 w 120"/>
              <a:gd name="T35" fmla="*/ 19802760 h 56"/>
              <a:gd name="T36" fmla="*/ 15437870 w 120"/>
              <a:gd name="T37" fmla="*/ 14301411 h 56"/>
              <a:gd name="T38" fmla="*/ 14294502 w 120"/>
              <a:gd name="T39" fmla="*/ 7700840 h 56"/>
              <a:gd name="T40" fmla="*/ 12769575 w 120"/>
              <a:gd name="T41" fmla="*/ 3300810 h 56"/>
              <a:gd name="T42" fmla="*/ 11435427 w 120"/>
              <a:gd name="T43" fmla="*/ 0 h 56"/>
              <a:gd name="T44" fmla="*/ 10482402 w 120"/>
              <a:gd name="T45" fmla="*/ 1100270 h 56"/>
              <a:gd name="T46" fmla="*/ 9148255 w 120"/>
              <a:gd name="T47" fmla="*/ 3300810 h 56"/>
              <a:gd name="T48" fmla="*/ 7814107 w 120"/>
              <a:gd name="T49" fmla="*/ 6600570 h 56"/>
              <a:gd name="T50" fmla="*/ 6289616 w 120"/>
              <a:gd name="T51" fmla="*/ 9901380 h 56"/>
              <a:gd name="T52" fmla="*/ 4574346 w 120"/>
              <a:gd name="T53" fmla="*/ 14301411 h 56"/>
              <a:gd name="T54" fmla="*/ 3049418 w 120"/>
              <a:gd name="T55" fmla="*/ 16501950 h 56"/>
              <a:gd name="T56" fmla="*/ 1524927 w 120"/>
              <a:gd name="T57" fmla="*/ 19802760 h 56"/>
              <a:gd name="T58" fmla="*/ 0 w 120"/>
              <a:gd name="T59" fmla="*/ 1980276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217194" y="5508469"/>
            <a:ext cx="250825" cy="109538"/>
          </a:xfrm>
          <a:custGeom>
            <a:avLst/>
            <a:gdLst>
              <a:gd name="T0" fmla="*/ 24250495 w 574"/>
              <a:gd name="T1" fmla="*/ 288343 h 204"/>
              <a:gd name="T2" fmla="*/ 18140241 w 574"/>
              <a:gd name="T3" fmla="*/ 1730056 h 204"/>
              <a:gd name="T4" fmla="*/ 12602864 w 574"/>
              <a:gd name="T5" fmla="*/ 4612946 h 204"/>
              <a:gd name="T6" fmla="*/ 8210804 w 574"/>
              <a:gd name="T7" fmla="*/ 7496373 h 204"/>
              <a:gd name="T8" fmla="*/ 5728336 w 574"/>
              <a:gd name="T9" fmla="*/ 10090920 h 204"/>
              <a:gd name="T10" fmla="*/ 3055346 w 574"/>
              <a:gd name="T11" fmla="*/ 14704403 h 204"/>
              <a:gd name="T12" fmla="*/ 763836 w 574"/>
              <a:gd name="T13" fmla="*/ 20470719 h 204"/>
              <a:gd name="T14" fmla="*/ 0 w 574"/>
              <a:gd name="T15" fmla="*/ 23641952 h 204"/>
              <a:gd name="T16" fmla="*/ 190959 w 574"/>
              <a:gd name="T17" fmla="*/ 24795322 h 204"/>
              <a:gd name="T18" fmla="*/ 2482468 w 574"/>
              <a:gd name="T19" fmla="*/ 24795322 h 204"/>
              <a:gd name="T20" fmla="*/ 5537377 w 574"/>
              <a:gd name="T21" fmla="*/ 23930294 h 204"/>
              <a:gd name="T22" fmla="*/ 9929436 w 574"/>
              <a:gd name="T23" fmla="*/ 21623553 h 204"/>
              <a:gd name="T24" fmla="*/ 15275854 w 574"/>
              <a:gd name="T25" fmla="*/ 16722264 h 204"/>
              <a:gd name="T26" fmla="*/ 19476955 w 574"/>
              <a:gd name="T27" fmla="*/ 13262689 h 204"/>
              <a:gd name="T28" fmla="*/ 22722822 w 574"/>
              <a:gd name="T29" fmla="*/ 11532633 h 204"/>
              <a:gd name="T30" fmla="*/ 33416095 w 574"/>
              <a:gd name="T31" fmla="*/ 10667605 h 204"/>
              <a:gd name="T32" fmla="*/ 33607054 w 574"/>
              <a:gd name="T33" fmla="*/ 13839375 h 204"/>
              <a:gd name="T34" fmla="*/ 34370891 w 574"/>
              <a:gd name="T35" fmla="*/ 15857236 h 204"/>
              <a:gd name="T36" fmla="*/ 35134727 w 574"/>
              <a:gd name="T37" fmla="*/ 17010607 h 204"/>
              <a:gd name="T38" fmla="*/ 36280482 w 574"/>
              <a:gd name="T39" fmla="*/ 17587292 h 204"/>
              <a:gd name="T40" fmla="*/ 43727450 w 574"/>
              <a:gd name="T41" fmla="*/ 17587292 h 204"/>
              <a:gd name="T42" fmla="*/ 51365377 w 574"/>
              <a:gd name="T43" fmla="*/ 22488581 h 204"/>
              <a:gd name="T44" fmla="*/ 57666590 w 574"/>
              <a:gd name="T45" fmla="*/ 27389870 h 204"/>
              <a:gd name="T46" fmla="*/ 64158763 w 574"/>
              <a:gd name="T47" fmla="*/ 32003352 h 204"/>
              <a:gd name="T48" fmla="*/ 71606168 w 574"/>
              <a:gd name="T49" fmla="*/ 35462928 h 204"/>
              <a:gd name="T50" fmla="*/ 71796690 w 574"/>
              <a:gd name="T51" fmla="*/ 38634160 h 204"/>
              <a:gd name="T52" fmla="*/ 72942444 w 574"/>
              <a:gd name="T53" fmla="*/ 40940901 h 204"/>
              <a:gd name="T54" fmla="*/ 75615872 w 574"/>
              <a:gd name="T55" fmla="*/ 43824328 h 204"/>
              <a:gd name="T56" fmla="*/ 81726126 w 574"/>
              <a:gd name="T57" fmla="*/ 47860589 h 204"/>
              <a:gd name="T58" fmla="*/ 76761627 w 574"/>
              <a:gd name="T59" fmla="*/ 55068619 h 204"/>
              <a:gd name="T60" fmla="*/ 77716422 w 574"/>
              <a:gd name="T61" fmla="*/ 56798138 h 204"/>
              <a:gd name="T62" fmla="*/ 79053136 w 574"/>
              <a:gd name="T63" fmla="*/ 57951508 h 204"/>
              <a:gd name="T64" fmla="*/ 81917085 w 574"/>
              <a:gd name="T65" fmla="*/ 58816536 h 204"/>
              <a:gd name="T66" fmla="*/ 88027777 w 574"/>
              <a:gd name="T67" fmla="*/ 58816536 h 204"/>
              <a:gd name="T68" fmla="*/ 105976621 w 574"/>
              <a:gd name="T69" fmla="*/ 54491933 h 204"/>
              <a:gd name="T70" fmla="*/ 106740458 w 574"/>
              <a:gd name="T71" fmla="*/ 52761877 h 204"/>
              <a:gd name="T72" fmla="*/ 107886212 w 574"/>
              <a:gd name="T73" fmla="*/ 51031821 h 204"/>
              <a:gd name="T74" fmla="*/ 109222926 w 574"/>
              <a:gd name="T75" fmla="*/ 49878987 h 204"/>
              <a:gd name="T76" fmla="*/ 109604844 w 574"/>
              <a:gd name="T77" fmla="*/ 46418875 h 204"/>
              <a:gd name="T78" fmla="*/ 107122376 w 574"/>
              <a:gd name="T79" fmla="*/ 44112671 h 204"/>
              <a:gd name="T80" fmla="*/ 101584999 w 574"/>
              <a:gd name="T81" fmla="*/ 42670957 h 204"/>
              <a:gd name="T82" fmla="*/ 96238581 w 574"/>
              <a:gd name="T83" fmla="*/ 39787531 h 204"/>
              <a:gd name="T84" fmla="*/ 90700767 w 574"/>
              <a:gd name="T85" fmla="*/ 35751270 h 204"/>
              <a:gd name="T86" fmla="*/ 82680922 w 574"/>
              <a:gd name="T87" fmla="*/ 28831583 h 204"/>
              <a:gd name="T88" fmla="*/ 73133404 w 574"/>
              <a:gd name="T89" fmla="*/ 19605691 h 204"/>
              <a:gd name="T90" fmla="*/ 68359863 w 574"/>
              <a:gd name="T91" fmla="*/ 15568894 h 204"/>
              <a:gd name="T92" fmla="*/ 66450272 w 574"/>
              <a:gd name="T93" fmla="*/ 14992208 h 204"/>
              <a:gd name="T94" fmla="*/ 63013445 w 574"/>
              <a:gd name="T95" fmla="*/ 14992208 h 204"/>
              <a:gd name="T96" fmla="*/ 59576181 w 574"/>
              <a:gd name="T97" fmla="*/ 14704403 h 204"/>
              <a:gd name="T98" fmla="*/ 57666590 w 574"/>
              <a:gd name="T99" fmla="*/ 14127717 h 204"/>
              <a:gd name="T100" fmla="*/ 56138917 w 574"/>
              <a:gd name="T101" fmla="*/ 12397661 h 204"/>
              <a:gd name="T102" fmla="*/ 55375081 w 574"/>
              <a:gd name="T103" fmla="*/ 9225892 h 204"/>
              <a:gd name="T104" fmla="*/ 27114882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521994" y="5611657"/>
            <a:ext cx="88900" cy="69850"/>
          </a:xfrm>
          <a:custGeom>
            <a:avLst/>
            <a:gdLst>
              <a:gd name="T0" fmla="*/ 7562083 w 207"/>
              <a:gd name="T1" fmla="*/ 37821880 h 129"/>
              <a:gd name="T2" fmla="*/ 9221979 w 207"/>
              <a:gd name="T3" fmla="*/ 35476219 h 129"/>
              <a:gd name="T4" fmla="*/ 11066547 w 207"/>
              <a:gd name="T5" fmla="*/ 33716974 h 129"/>
              <a:gd name="T6" fmla="*/ 12911114 w 207"/>
              <a:gd name="T7" fmla="*/ 32251207 h 129"/>
              <a:gd name="T8" fmla="*/ 14939924 w 207"/>
              <a:gd name="T9" fmla="*/ 30785440 h 129"/>
              <a:gd name="T10" fmla="*/ 19366457 w 207"/>
              <a:gd name="T11" fmla="*/ 29026195 h 129"/>
              <a:gd name="T12" fmla="*/ 23792990 w 207"/>
              <a:gd name="T13" fmla="*/ 26974012 h 129"/>
              <a:gd name="T14" fmla="*/ 28035281 w 207"/>
              <a:gd name="T15" fmla="*/ 25507704 h 129"/>
              <a:gd name="T16" fmla="*/ 31908658 w 207"/>
              <a:gd name="T17" fmla="*/ 23748459 h 129"/>
              <a:gd name="T18" fmla="*/ 33568554 w 207"/>
              <a:gd name="T19" fmla="*/ 22575628 h 129"/>
              <a:gd name="T20" fmla="*/ 35228880 w 207"/>
              <a:gd name="T21" fmla="*/ 21403340 h 129"/>
              <a:gd name="T22" fmla="*/ 36888776 w 207"/>
              <a:gd name="T23" fmla="*/ 19644094 h 129"/>
              <a:gd name="T24" fmla="*/ 38179758 w 207"/>
              <a:gd name="T25" fmla="*/ 17884849 h 129"/>
              <a:gd name="T26" fmla="*/ 36519862 w 207"/>
              <a:gd name="T27" fmla="*/ 15832667 h 129"/>
              <a:gd name="T28" fmla="*/ 34675295 w 207"/>
              <a:gd name="T29" fmla="*/ 13779943 h 129"/>
              <a:gd name="T30" fmla="*/ 33015399 w 207"/>
              <a:gd name="T31" fmla="*/ 12314176 h 129"/>
              <a:gd name="T32" fmla="*/ 31170831 w 207"/>
              <a:gd name="T33" fmla="*/ 10554931 h 129"/>
              <a:gd name="T34" fmla="*/ 27666367 w 207"/>
              <a:gd name="T35" fmla="*/ 8502748 h 129"/>
              <a:gd name="T36" fmla="*/ 23792990 w 207"/>
              <a:gd name="T37" fmla="*/ 6743503 h 129"/>
              <a:gd name="T38" fmla="*/ 19735371 w 207"/>
              <a:gd name="T39" fmla="*/ 5277736 h 129"/>
              <a:gd name="T40" fmla="*/ 15677751 w 207"/>
              <a:gd name="T41" fmla="*/ 3811428 h 129"/>
              <a:gd name="T42" fmla="*/ 11620132 w 207"/>
              <a:gd name="T43" fmla="*/ 2052182 h 129"/>
              <a:gd name="T44" fmla="*/ 7562083 w 207"/>
              <a:gd name="T45" fmla="*/ 0 h 129"/>
              <a:gd name="T46" fmla="*/ 0 w 207"/>
              <a:gd name="T47" fmla="*/ 0 h 129"/>
              <a:gd name="T48" fmla="*/ 184242 w 207"/>
              <a:gd name="T49" fmla="*/ 1759245 h 129"/>
              <a:gd name="T50" fmla="*/ 368914 w 207"/>
              <a:gd name="T51" fmla="*/ 3811428 h 129"/>
              <a:gd name="T52" fmla="*/ 737827 w 207"/>
              <a:gd name="T53" fmla="*/ 5570673 h 129"/>
              <a:gd name="T54" fmla="*/ 1106741 w 207"/>
              <a:gd name="T55" fmla="*/ 7329918 h 129"/>
              <a:gd name="T56" fmla="*/ 1844568 w 207"/>
              <a:gd name="T57" fmla="*/ 10261994 h 129"/>
              <a:gd name="T58" fmla="*/ 2397723 w 207"/>
              <a:gd name="T59" fmla="*/ 13487006 h 129"/>
              <a:gd name="T60" fmla="*/ 3135550 w 207"/>
              <a:gd name="T61" fmla="*/ 15832667 h 129"/>
              <a:gd name="T62" fmla="*/ 3319792 w 207"/>
              <a:gd name="T63" fmla="*/ 18177786 h 129"/>
              <a:gd name="T64" fmla="*/ 3135550 w 207"/>
              <a:gd name="T65" fmla="*/ 19057679 h 129"/>
              <a:gd name="T66" fmla="*/ 2582395 w 207"/>
              <a:gd name="T67" fmla="*/ 19937031 h 129"/>
              <a:gd name="T68" fmla="*/ 2028810 w 207"/>
              <a:gd name="T69" fmla="*/ 20816924 h 129"/>
              <a:gd name="T70" fmla="*/ 1290983 w 207"/>
              <a:gd name="T71" fmla="*/ 21403340 h 129"/>
              <a:gd name="T72" fmla="*/ 0 w 207"/>
              <a:gd name="T73" fmla="*/ 30491962 h 129"/>
              <a:gd name="T74" fmla="*/ 737827 w 207"/>
              <a:gd name="T75" fmla="*/ 31078377 h 129"/>
              <a:gd name="T76" fmla="*/ 2397723 w 207"/>
              <a:gd name="T77" fmla="*/ 32251207 h 129"/>
              <a:gd name="T78" fmla="*/ 3504464 w 207"/>
              <a:gd name="T79" fmla="*/ 33130559 h 129"/>
              <a:gd name="T80" fmla="*/ 4611204 w 207"/>
              <a:gd name="T81" fmla="*/ 34303389 h 129"/>
              <a:gd name="T82" fmla="*/ 6086429 w 207"/>
              <a:gd name="T83" fmla="*/ 35769698 h 129"/>
              <a:gd name="T84" fmla="*/ 7562083 w 207"/>
              <a:gd name="T85" fmla="*/ 3782188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090194" y="5671982"/>
            <a:ext cx="33338" cy="84137"/>
          </a:xfrm>
          <a:custGeom>
            <a:avLst/>
            <a:gdLst>
              <a:gd name="T0" fmla="*/ 15436420 w 72"/>
              <a:gd name="T1" fmla="*/ 0 h 154"/>
              <a:gd name="T2" fmla="*/ 14793274 w 72"/>
              <a:gd name="T3" fmla="*/ 1193762 h 154"/>
              <a:gd name="T4" fmla="*/ 14364511 w 72"/>
              <a:gd name="T5" fmla="*/ 2686374 h 154"/>
              <a:gd name="T6" fmla="*/ 14150129 w 72"/>
              <a:gd name="T7" fmla="*/ 3880136 h 154"/>
              <a:gd name="T8" fmla="*/ 14150129 w 72"/>
              <a:gd name="T9" fmla="*/ 5372748 h 154"/>
              <a:gd name="T10" fmla="*/ 14150129 w 72"/>
              <a:gd name="T11" fmla="*/ 8059123 h 154"/>
              <a:gd name="T12" fmla="*/ 14150129 w 72"/>
              <a:gd name="T13" fmla="*/ 11044347 h 154"/>
              <a:gd name="T14" fmla="*/ 14793274 w 72"/>
              <a:gd name="T15" fmla="*/ 12835263 h 154"/>
              <a:gd name="T16" fmla="*/ 15222038 w 72"/>
              <a:gd name="T17" fmla="*/ 14924483 h 154"/>
              <a:gd name="T18" fmla="*/ 15222038 w 72"/>
              <a:gd name="T19" fmla="*/ 17014250 h 154"/>
              <a:gd name="T20" fmla="*/ 15222038 w 72"/>
              <a:gd name="T21" fmla="*/ 19401774 h 154"/>
              <a:gd name="T22" fmla="*/ 14793274 w 72"/>
              <a:gd name="T23" fmla="*/ 21789844 h 154"/>
              <a:gd name="T24" fmla="*/ 14364511 w 72"/>
              <a:gd name="T25" fmla="*/ 24476218 h 154"/>
              <a:gd name="T26" fmla="*/ 13935747 w 72"/>
              <a:gd name="T27" fmla="*/ 27162592 h 154"/>
              <a:gd name="T28" fmla="*/ 13078220 w 72"/>
              <a:gd name="T29" fmla="*/ 29848967 h 154"/>
              <a:gd name="T30" fmla="*/ 11362702 w 72"/>
              <a:gd name="T31" fmla="*/ 34625107 h 154"/>
              <a:gd name="T32" fmla="*/ 9433265 w 72"/>
              <a:gd name="T33" fmla="*/ 39102398 h 154"/>
              <a:gd name="T34" fmla="*/ 7289446 w 72"/>
              <a:gd name="T35" fmla="*/ 42983080 h 154"/>
              <a:gd name="T36" fmla="*/ 5574391 w 72"/>
              <a:gd name="T37" fmla="*/ 45967758 h 154"/>
              <a:gd name="T38" fmla="*/ 5574391 w 72"/>
              <a:gd name="T39" fmla="*/ 42087622 h 154"/>
              <a:gd name="T40" fmla="*/ 3215728 w 72"/>
              <a:gd name="T41" fmla="*/ 42983080 h 154"/>
              <a:gd name="T42" fmla="*/ 0 w 72"/>
              <a:gd name="T43" fmla="*/ 44176842 h 154"/>
              <a:gd name="T44" fmla="*/ 643146 w 72"/>
              <a:gd name="T45" fmla="*/ 38505243 h 154"/>
              <a:gd name="T46" fmla="*/ 1715055 w 72"/>
              <a:gd name="T47" fmla="*/ 31341579 h 154"/>
              <a:gd name="T48" fmla="*/ 1929437 w 72"/>
              <a:gd name="T49" fmla="*/ 27461443 h 154"/>
              <a:gd name="T50" fmla="*/ 2572582 w 72"/>
              <a:gd name="T51" fmla="*/ 22984152 h 154"/>
              <a:gd name="T52" fmla="*/ 3215728 w 72"/>
              <a:gd name="T53" fmla="*/ 18805166 h 154"/>
              <a:gd name="T54" fmla="*/ 4288100 w 72"/>
              <a:gd name="T55" fmla="*/ 14626179 h 154"/>
              <a:gd name="T56" fmla="*/ 4288100 w 72"/>
              <a:gd name="T57" fmla="*/ 0 h 154"/>
              <a:gd name="T58" fmla="*/ 5360010 w 72"/>
              <a:gd name="T59" fmla="*/ 0 h 154"/>
              <a:gd name="T60" fmla="*/ 8146974 w 72"/>
              <a:gd name="T61" fmla="*/ 0 h 154"/>
              <a:gd name="T62" fmla="*/ 12006310 w 72"/>
              <a:gd name="T63" fmla="*/ 0 h 154"/>
              <a:gd name="T64" fmla="*/ 15436420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010819" y="5671982"/>
            <a:ext cx="93663" cy="146050"/>
          </a:xfrm>
          <a:custGeom>
            <a:avLst/>
            <a:gdLst>
              <a:gd name="T0" fmla="*/ 1532309 w 214"/>
              <a:gd name="T1" fmla="*/ 60121941 h 271"/>
              <a:gd name="T2" fmla="*/ 2298683 w 214"/>
              <a:gd name="T3" fmla="*/ 52570455 h 271"/>
              <a:gd name="T4" fmla="*/ 4597365 w 214"/>
              <a:gd name="T5" fmla="*/ 42986126 h 271"/>
              <a:gd name="T6" fmla="*/ 6704783 w 214"/>
              <a:gd name="T7" fmla="*/ 34272707 h 271"/>
              <a:gd name="T8" fmla="*/ 8428795 w 214"/>
              <a:gd name="T9" fmla="*/ 32529808 h 271"/>
              <a:gd name="T10" fmla="*/ 12451489 w 214"/>
              <a:gd name="T11" fmla="*/ 32239325 h 271"/>
              <a:gd name="T12" fmla="*/ 17048854 w 214"/>
              <a:gd name="T13" fmla="*/ 32239325 h 271"/>
              <a:gd name="T14" fmla="*/ 20305613 w 214"/>
              <a:gd name="T15" fmla="*/ 31948842 h 271"/>
              <a:gd name="T16" fmla="*/ 22987264 w 214"/>
              <a:gd name="T17" fmla="*/ 30496965 h 271"/>
              <a:gd name="T18" fmla="*/ 24902978 w 214"/>
              <a:gd name="T19" fmla="*/ 27301649 h 271"/>
              <a:gd name="T20" fmla="*/ 21646657 w 214"/>
              <a:gd name="T21" fmla="*/ 21202580 h 271"/>
              <a:gd name="T22" fmla="*/ 16474184 w 214"/>
              <a:gd name="T23" fmla="*/ 16845870 h 271"/>
              <a:gd name="T24" fmla="*/ 14750172 w 214"/>
              <a:gd name="T25" fmla="*/ 14232061 h 271"/>
              <a:gd name="T26" fmla="*/ 14175501 w 214"/>
              <a:gd name="T27" fmla="*/ 11908195 h 271"/>
              <a:gd name="T28" fmla="*/ 14367204 w 214"/>
              <a:gd name="T29" fmla="*/ 9875351 h 271"/>
              <a:gd name="T30" fmla="*/ 15708248 w 214"/>
              <a:gd name="T31" fmla="*/ 8132452 h 271"/>
              <a:gd name="T32" fmla="*/ 19347537 w 214"/>
              <a:gd name="T33" fmla="*/ 5518642 h 271"/>
              <a:gd name="T34" fmla="*/ 28734408 w 214"/>
              <a:gd name="T35" fmla="*/ 871450 h 271"/>
              <a:gd name="T36" fmla="*/ 34481114 w 214"/>
              <a:gd name="T37" fmla="*/ 0 h 271"/>
              <a:gd name="T38" fmla="*/ 37929138 w 214"/>
              <a:gd name="T39" fmla="*/ 0 h 271"/>
              <a:gd name="T40" fmla="*/ 39653150 w 214"/>
              <a:gd name="T41" fmla="*/ 14232061 h 271"/>
              <a:gd name="T42" fmla="*/ 38120841 w 214"/>
              <a:gd name="T43" fmla="*/ 22364513 h 271"/>
              <a:gd name="T44" fmla="*/ 37354468 w 214"/>
              <a:gd name="T45" fmla="*/ 30496965 h 271"/>
              <a:gd name="T46" fmla="*/ 35822158 w 214"/>
              <a:gd name="T47" fmla="*/ 42986126 h 271"/>
              <a:gd name="T48" fmla="*/ 40802491 w 214"/>
              <a:gd name="T49" fmla="*/ 44728486 h 271"/>
              <a:gd name="T50" fmla="*/ 40994194 w 214"/>
              <a:gd name="T51" fmla="*/ 48213746 h 271"/>
              <a:gd name="T52" fmla="*/ 40227821 w 214"/>
              <a:gd name="T53" fmla="*/ 50537611 h 271"/>
              <a:gd name="T54" fmla="*/ 39653150 w 214"/>
              <a:gd name="T55" fmla="*/ 51409061 h 271"/>
              <a:gd name="T56" fmla="*/ 38312544 w 214"/>
              <a:gd name="T57" fmla="*/ 51699544 h 271"/>
              <a:gd name="T58" fmla="*/ 36779797 w 214"/>
              <a:gd name="T59" fmla="*/ 56927164 h 271"/>
              <a:gd name="T60" fmla="*/ 34672817 w 214"/>
              <a:gd name="T61" fmla="*/ 62155323 h 271"/>
              <a:gd name="T62" fmla="*/ 29692046 w 214"/>
              <a:gd name="T63" fmla="*/ 70578258 h 271"/>
              <a:gd name="T64" fmla="*/ 22987264 w 214"/>
              <a:gd name="T65" fmla="*/ 78710710 h 271"/>
              <a:gd name="T66" fmla="*/ 16665887 w 214"/>
              <a:gd name="T67" fmla="*/ 75806417 h 271"/>
              <a:gd name="T68" fmla="*/ 10535774 w 214"/>
              <a:gd name="T69" fmla="*/ 72030674 h 271"/>
              <a:gd name="T70" fmla="*/ 0 w 214"/>
              <a:gd name="T71" fmla="*/ 64188706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058444" y="5783107"/>
            <a:ext cx="71438" cy="57150"/>
          </a:xfrm>
          <a:custGeom>
            <a:avLst/>
            <a:gdLst>
              <a:gd name="T0" fmla="*/ 13080625 w 153"/>
              <a:gd name="T1" fmla="*/ 0 h 80"/>
              <a:gd name="T2" fmla="*/ 18094825 w 153"/>
              <a:gd name="T3" fmla="*/ 7144464 h 80"/>
              <a:gd name="T4" fmla="*/ 22672927 w 153"/>
              <a:gd name="T5" fmla="*/ 12247959 h 80"/>
              <a:gd name="T6" fmla="*/ 25071003 w 153"/>
              <a:gd name="T7" fmla="*/ 14289643 h 80"/>
              <a:gd name="T8" fmla="*/ 27469078 w 153"/>
              <a:gd name="T9" fmla="*/ 15820549 h 80"/>
              <a:gd name="T10" fmla="*/ 28995424 w 153"/>
              <a:gd name="T11" fmla="*/ 16330613 h 80"/>
              <a:gd name="T12" fmla="*/ 30303253 w 153"/>
              <a:gd name="T13" fmla="*/ 16330613 h 80"/>
              <a:gd name="T14" fmla="*/ 31829598 w 153"/>
              <a:gd name="T15" fmla="*/ 15820549 h 80"/>
              <a:gd name="T16" fmla="*/ 33355476 w 153"/>
              <a:gd name="T17" fmla="*/ 15309771 h 80"/>
              <a:gd name="T18" fmla="*/ 33355476 w 153"/>
              <a:gd name="T19" fmla="*/ 28578572 h 80"/>
              <a:gd name="T20" fmla="*/ 32483279 w 153"/>
              <a:gd name="T21" fmla="*/ 30620256 h 80"/>
              <a:gd name="T22" fmla="*/ 31611548 w 153"/>
              <a:gd name="T23" fmla="*/ 33171289 h 80"/>
              <a:gd name="T24" fmla="*/ 30085203 w 153"/>
              <a:gd name="T25" fmla="*/ 35212973 h 80"/>
              <a:gd name="T26" fmla="*/ 28777374 w 153"/>
              <a:gd name="T27" fmla="*/ 36743878 h 80"/>
              <a:gd name="T28" fmla="*/ 27251029 w 153"/>
              <a:gd name="T29" fmla="*/ 38274784 h 80"/>
              <a:gd name="T30" fmla="*/ 25943200 w 153"/>
              <a:gd name="T31" fmla="*/ 39805689 h 80"/>
              <a:gd name="T32" fmla="*/ 24416855 w 153"/>
              <a:gd name="T33" fmla="*/ 40316468 h 80"/>
              <a:gd name="T34" fmla="*/ 23109026 w 153"/>
              <a:gd name="T35" fmla="*/ 40826531 h 80"/>
              <a:gd name="T36" fmla="*/ 19620704 w 153"/>
              <a:gd name="T37" fmla="*/ 37764720 h 80"/>
              <a:gd name="T38" fmla="*/ 16568947 w 153"/>
              <a:gd name="T39" fmla="*/ 36233814 h 80"/>
              <a:gd name="T40" fmla="*/ 13734773 w 153"/>
              <a:gd name="T41" fmla="*/ 35212973 h 80"/>
              <a:gd name="T42" fmla="*/ 10900598 w 153"/>
              <a:gd name="T43" fmla="*/ 35212973 h 80"/>
              <a:gd name="T44" fmla="*/ 8502523 w 153"/>
              <a:gd name="T45" fmla="*/ 34702909 h 80"/>
              <a:gd name="T46" fmla="*/ 5886398 w 153"/>
              <a:gd name="T47" fmla="*/ 34192131 h 80"/>
              <a:gd name="T48" fmla="*/ 3052224 w 153"/>
              <a:gd name="T49" fmla="*/ 33171289 h 80"/>
              <a:gd name="T50" fmla="*/ 0 w 153"/>
              <a:gd name="T51" fmla="*/ 31640383 h 80"/>
              <a:gd name="T52" fmla="*/ 1525878 w 153"/>
              <a:gd name="T53" fmla="*/ 29599414 h 80"/>
              <a:gd name="T54" fmla="*/ 5014201 w 153"/>
              <a:gd name="T55" fmla="*/ 22965013 h 80"/>
              <a:gd name="T56" fmla="*/ 7412276 w 153"/>
              <a:gd name="T57" fmla="*/ 18882360 h 80"/>
              <a:gd name="T58" fmla="*/ 9810352 w 153"/>
              <a:gd name="T59" fmla="*/ 14289643 h 80"/>
              <a:gd name="T60" fmla="*/ 12208427 w 153"/>
              <a:gd name="T61" fmla="*/ 8675370 h 80"/>
              <a:gd name="T62" fmla="*/ 14606503 w 153"/>
              <a:gd name="T63" fmla="*/ 3061811 h 80"/>
              <a:gd name="T64" fmla="*/ 1308062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090194" y="5745007"/>
            <a:ext cx="142875" cy="87312"/>
          </a:xfrm>
          <a:custGeom>
            <a:avLst/>
            <a:gdLst>
              <a:gd name="T0" fmla="*/ 0 w 332"/>
              <a:gd name="T1" fmla="*/ 20552418 h 169"/>
              <a:gd name="T2" fmla="*/ 8148609 w 332"/>
              <a:gd name="T3" fmla="*/ 26958742 h 169"/>
              <a:gd name="T4" fmla="*/ 12223128 w 332"/>
              <a:gd name="T5" fmla="*/ 28826909 h 169"/>
              <a:gd name="T6" fmla="*/ 14630486 w 332"/>
              <a:gd name="T7" fmla="*/ 29094012 h 169"/>
              <a:gd name="T8" fmla="*/ 17223323 w 332"/>
              <a:gd name="T9" fmla="*/ 28559807 h 169"/>
              <a:gd name="T10" fmla="*/ 16667746 w 332"/>
              <a:gd name="T11" fmla="*/ 38435879 h 169"/>
              <a:gd name="T12" fmla="*/ 17593851 w 332"/>
              <a:gd name="T13" fmla="*/ 41104836 h 169"/>
              <a:gd name="T14" fmla="*/ 18334477 w 332"/>
              <a:gd name="T15" fmla="*/ 43507208 h 169"/>
              <a:gd name="T16" fmla="*/ 19816160 w 332"/>
              <a:gd name="T17" fmla="*/ 44841687 h 169"/>
              <a:gd name="T18" fmla="*/ 21668371 w 332"/>
              <a:gd name="T19" fmla="*/ 45108789 h 169"/>
              <a:gd name="T20" fmla="*/ 22779525 w 332"/>
              <a:gd name="T21" fmla="*/ 44307998 h 169"/>
              <a:gd name="T22" fmla="*/ 24446257 w 332"/>
              <a:gd name="T23" fmla="*/ 41905627 h 169"/>
              <a:gd name="T24" fmla="*/ 27039094 w 332"/>
              <a:gd name="T25" fmla="*/ 36300610 h 169"/>
              <a:gd name="T26" fmla="*/ 32224337 w 332"/>
              <a:gd name="T27" fmla="*/ 30695076 h 169"/>
              <a:gd name="T28" fmla="*/ 39632320 w 332"/>
              <a:gd name="T29" fmla="*/ 25623747 h 169"/>
              <a:gd name="T30" fmla="*/ 47410831 w 332"/>
              <a:gd name="T31" fmla="*/ 21353209 h 169"/>
              <a:gd name="T32" fmla="*/ 56300066 w 332"/>
              <a:gd name="T33" fmla="*/ 17349773 h 169"/>
              <a:gd name="T34" fmla="*/ 61485740 w 332"/>
              <a:gd name="T35" fmla="*/ 12277927 h 169"/>
              <a:gd name="T36" fmla="*/ 61485740 w 332"/>
              <a:gd name="T37" fmla="*/ 5872119 h 169"/>
              <a:gd name="T38" fmla="*/ 59263431 w 332"/>
              <a:gd name="T39" fmla="*/ 533688 h 169"/>
              <a:gd name="T40" fmla="*/ 52411026 w 332"/>
              <a:gd name="T41" fmla="*/ 267102 h 169"/>
              <a:gd name="T42" fmla="*/ 43336311 w 332"/>
              <a:gd name="T43" fmla="*/ 0 h 169"/>
              <a:gd name="T44" fmla="*/ 33335492 w 332"/>
              <a:gd name="T45" fmla="*/ 267102 h 169"/>
              <a:gd name="T46" fmla="*/ 24260777 w 332"/>
              <a:gd name="T47" fmla="*/ 1067893 h 169"/>
              <a:gd name="T48" fmla="*/ 16667746 w 332"/>
              <a:gd name="T49" fmla="*/ 2668957 h 169"/>
              <a:gd name="T50" fmla="*/ 10926495 w 332"/>
              <a:gd name="T51" fmla="*/ 5071329 h 169"/>
              <a:gd name="T52" fmla="*/ 7778511 w 332"/>
              <a:gd name="T53" fmla="*/ 5872119 h 169"/>
              <a:gd name="T54" fmla="*/ 6481877 w 332"/>
              <a:gd name="T55" fmla="*/ 6139222 h 169"/>
              <a:gd name="T56" fmla="*/ 6296828 w 332"/>
              <a:gd name="T57" fmla="*/ 6940012 h 169"/>
              <a:gd name="T58" fmla="*/ 6111349 w 332"/>
              <a:gd name="T59" fmla="*/ 10142658 h 169"/>
              <a:gd name="T60" fmla="*/ 5370723 w 332"/>
              <a:gd name="T61" fmla="*/ 11744239 h 169"/>
              <a:gd name="T62" fmla="*/ 4259569 w 332"/>
              <a:gd name="T63" fmla="*/ 12277927 h 169"/>
              <a:gd name="T64" fmla="*/ 3518942 w 332"/>
              <a:gd name="T65" fmla="*/ 14680299 h 169"/>
              <a:gd name="T66" fmla="*/ 2037260 w 332"/>
              <a:gd name="T67" fmla="*/ 19217940 h 169"/>
              <a:gd name="T68" fmla="*/ 1296203 w 332"/>
              <a:gd name="T69" fmla="*/ 22153999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107657" y="5775169"/>
            <a:ext cx="125412" cy="122238"/>
          </a:xfrm>
          <a:custGeom>
            <a:avLst/>
            <a:gdLst>
              <a:gd name="T0" fmla="*/ 8460486 w 286"/>
              <a:gd name="T1" fmla="*/ 23268914 h 235"/>
              <a:gd name="T2" fmla="*/ 9422125 w 286"/>
              <a:gd name="T3" fmla="*/ 25974795 h 235"/>
              <a:gd name="T4" fmla="*/ 10191260 w 286"/>
              <a:gd name="T5" fmla="*/ 28409672 h 235"/>
              <a:gd name="T6" fmla="*/ 11729530 w 286"/>
              <a:gd name="T7" fmla="*/ 29762612 h 235"/>
              <a:gd name="T8" fmla="*/ 13652368 w 286"/>
              <a:gd name="T9" fmla="*/ 30033096 h 235"/>
              <a:gd name="T10" fmla="*/ 14806071 w 286"/>
              <a:gd name="T11" fmla="*/ 29221124 h 235"/>
              <a:gd name="T12" fmla="*/ 16536405 w 286"/>
              <a:gd name="T13" fmla="*/ 26786247 h 235"/>
              <a:gd name="T14" fmla="*/ 19228378 w 286"/>
              <a:gd name="T15" fmla="*/ 21104521 h 235"/>
              <a:gd name="T16" fmla="*/ 24612324 w 286"/>
              <a:gd name="T17" fmla="*/ 15422274 h 235"/>
              <a:gd name="T18" fmla="*/ 32304114 w 286"/>
              <a:gd name="T19" fmla="*/ 10281516 h 235"/>
              <a:gd name="T20" fmla="*/ 40380033 w 286"/>
              <a:gd name="T21" fmla="*/ 5952731 h 235"/>
              <a:gd name="T22" fmla="*/ 49609655 w 286"/>
              <a:gd name="T23" fmla="*/ 1893909 h 235"/>
              <a:gd name="T24" fmla="*/ 54993601 w 286"/>
              <a:gd name="T25" fmla="*/ 2976365 h 235"/>
              <a:gd name="T26" fmla="*/ 54224465 w 286"/>
              <a:gd name="T27" fmla="*/ 8658092 h 235"/>
              <a:gd name="T28" fmla="*/ 52301628 w 286"/>
              <a:gd name="T29" fmla="*/ 18939608 h 235"/>
              <a:gd name="T30" fmla="*/ 48840519 w 286"/>
              <a:gd name="T31" fmla="*/ 34632886 h 235"/>
              <a:gd name="T32" fmla="*/ 46917682 w 286"/>
              <a:gd name="T33" fmla="*/ 47078795 h 235"/>
              <a:gd name="T34" fmla="*/ 46148546 w 286"/>
              <a:gd name="T35" fmla="*/ 55736887 h 235"/>
              <a:gd name="T36" fmla="*/ 28073871 w 286"/>
              <a:gd name="T37" fmla="*/ 58442768 h 235"/>
              <a:gd name="T38" fmla="*/ 26535162 w 286"/>
              <a:gd name="T39" fmla="*/ 58983736 h 235"/>
              <a:gd name="T40" fmla="*/ 25381459 w 286"/>
              <a:gd name="T41" fmla="*/ 60336677 h 235"/>
              <a:gd name="T42" fmla="*/ 24420260 w 286"/>
              <a:gd name="T43" fmla="*/ 63583526 h 235"/>
              <a:gd name="T44" fmla="*/ 20959152 w 286"/>
              <a:gd name="T45" fmla="*/ 58713252 h 235"/>
              <a:gd name="T46" fmla="*/ 18074676 w 286"/>
              <a:gd name="T47" fmla="*/ 53842978 h 235"/>
              <a:gd name="T48" fmla="*/ 13267800 w 286"/>
              <a:gd name="T49" fmla="*/ 43290978 h 235"/>
              <a:gd name="T50" fmla="*/ 10575827 w 286"/>
              <a:gd name="T51" fmla="*/ 38420704 h 235"/>
              <a:gd name="T52" fmla="*/ 7883854 w 286"/>
              <a:gd name="T53" fmla="*/ 33820914 h 235"/>
              <a:gd name="T54" fmla="*/ 4230243 w 286"/>
              <a:gd name="T55" fmla="*/ 29762612 h 235"/>
              <a:gd name="T56" fmla="*/ 0 w 286"/>
              <a:gd name="T57" fmla="*/ 26786247 h 235"/>
              <a:gd name="T58" fmla="*/ 2499908 w 286"/>
              <a:gd name="T59" fmla="*/ 26245279 h 235"/>
              <a:gd name="T60" fmla="*/ 4999378 w 286"/>
              <a:gd name="T61" fmla="*/ 24621854 h 235"/>
              <a:gd name="T62" fmla="*/ 7499287 w 286"/>
              <a:gd name="T63" fmla="*/ 22727945 h 235"/>
              <a:gd name="T64" fmla="*/ 9037557 w 286"/>
              <a:gd name="T65" fmla="*/ 20292548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158457" y="5887882"/>
            <a:ext cx="84137" cy="100012"/>
          </a:xfrm>
          <a:custGeom>
            <a:avLst/>
            <a:gdLst>
              <a:gd name="T0" fmla="*/ 31668346 w 205"/>
              <a:gd name="T1" fmla="*/ 50723364 h 191"/>
              <a:gd name="T2" fmla="*/ 29478321 w 205"/>
              <a:gd name="T3" fmla="*/ 50723364 h 191"/>
              <a:gd name="T4" fmla="*/ 26614790 w 205"/>
              <a:gd name="T5" fmla="*/ 50723364 h 191"/>
              <a:gd name="T6" fmla="*/ 24256492 w 205"/>
              <a:gd name="T7" fmla="*/ 49352518 h 191"/>
              <a:gd name="T8" fmla="*/ 22909069 w 205"/>
              <a:gd name="T9" fmla="*/ 47433440 h 191"/>
              <a:gd name="T10" fmla="*/ 21729919 w 205"/>
              <a:gd name="T11" fmla="*/ 44691750 h 191"/>
              <a:gd name="T12" fmla="*/ 20213812 w 205"/>
              <a:gd name="T13" fmla="*/ 40304836 h 191"/>
              <a:gd name="T14" fmla="*/ 18529430 w 205"/>
              <a:gd name="T15" fmla="*/ 35917922 h 191"/>
              <a:gd name="T16" fmla="*/ 16676364 w 205"/>
              <a:gd name="T17" fmla="*/ 33175708 h 191"/>
              <a:gd name="T18" fmla="*/ 15665489 w 205"/>
              <a:gd name="T19" fmla="*/ 34547077 h 191"/>
              <a:gd name="T20" fmla="*/ 15160256 w 205"/>
              <a:gd name="T21" fmla="*/ 37014389 h 191"/>
              <a:gd name="T22" fmla="*/ 14149791 w 205"/>
              <a:gd name="T23" fmla="*/ 35643544 h 191"/>
              <a:gd name="T24" fmla="*/ 12128451 w 205"/>
              <a:gd name="T25" fmla="*/ 30982251 h 191"/>
              <a:gd name="T26" fmla="*/ 9433194 w 205"/>
              <a:gd name="T27" fmla="*/ 23853647 h 191"/>
              <a:gd name="T28" fmla="*/ 6906211 w 205"/>
              <a:gd name="T29" fmla="*/ 18370267 h 191"/>
              <a:gd name="T30" fmla="*/ 5221830 w 205"/>
              <a:gd name="T31" fmla="*/ 15902432 h 191"/>
              <a:gd name="T32" fmla="*/ 4379639 w 205"/>
              <a:gd name="T33" fmla="*/ 16450665 h 191"/>
              <a:gd name="T34" fmla="*/ 4884871 w 205"/>
              <a:gd name="T35" fmla="*/ 18918500 h 191"/>
              <a:gd name="T36" fmla="*/ 5727062 w 205"/>
              <a:gd name="T37" fmla="*/ 21386336 h 191"/>
              <a:gd name="T38" fmla="*/ 6906211 w 205"/>
              <a:gd name="T39" fmla="*/ 23031036 h 191"/>
              <a:gd name="T40" fmla="*/ 7748812 w 205"/>
              <a:gd name="T41" fmla="*/ 28788795 h 191"/>
              <a:gd name="T42" fmla="*/ 2190025 w 205"/>
              <a:gd name="T43" fmla="*/ 26869716 h 191"/>
              <a:gd name="T44" fmla="*/ 673917 w 205"/>
              <a:gd name="T45" fmla="*/ 23031036 h 191"/>
              <a:gd name="T46" fmla="*/ 0 w 205"/>
              <a:gd name="T47" fmla="*/ 16450665 h 191"/>
              <a:gd name="T48" fmla="*/ 0 w 205"/>
              <a:gd name="T49" fmla="*/ 10419051 h 191"/>
              <a:gd name="T50" fmla="*/ 505232 w 205"/>
              <a:gd name="T51" fmla="*/ 7676837 h 191"/>
              <a:gd name="T52" fmla="*/ 1347423 w 205"/>
              <a:gd name="T53" fmla="*/ 6032137 h 191"/>
              <a:gd name="T54" fmla="*/ 2358299 w 205"/>
              <a:gd name="T55" fmla="*/ 3564302 h 191"/>
              <a:gd name="T56" fmla="*/ 3368763 w 205"/>
              <a:gd name="T57" fmla="*/ 1096467 h 191"/>
              <a:gd name="T58" fmla="*/ 4716597 w 205"/>
              <a:gd name="T59" fmla="*/ 0 h 191"/>
              <a:gd name="T60" fmla="*/ 21224276 w 205"/>
              <a:gd name="T61" fmla="*/ 1645224 h 191"/>
              <a:gd name="T62" fmla="*/ 21392961 w 205"/>
              <a:gd name="T63" fmla="*/ 5757759 h 191"/>
              <a:gd name="T64" fmla="*/ 21898193 w 205"/>
              <a:gd name="T65" fmla="*/ 10144673 h 191"/>
              <a:gd name="T66" fmla="*/ 24088218 w 205"/>
              <a:gd name="T67" fmla="*/ 19192879 h 191"/>
              <a:gd name="T68" fmla="*/ 27793940 w 205"/>
              <a:gd name="T69" fmla="*/ 27966706 h 191"/>
              <a:gd name="T70" fmla="*/ 29815280 w 205"/>
              <a:gd name="T71" fmla="*/ 32079242 h 191"/>
              <a:gd name="T72" fmla="*/ 32341852 w 205"/>
              <a:gd name="T73" fmla="*/ 35643544 h 191"/>
              <a:gd name="T74" fmla="*/ 31836620 w 205"/>
              <a:gd name="T75" fmla="*/ 39207846 h 191"/>
              <a:gd name="T76" fmla="*/ 31836620 w 205"/>
              <a:gd name="T77" fmla="*/ 42772148 h 191"/>
              <a:gd name="T78" fmla="*/ 32341852 w 205"/>
              <a:gd name="T79" fmla="*/ 52368587 h 191"/>
              <a:gd name="T80" fmla="*/ 34531877 w 205"/>
              <a:gd name="T81" fmla="*/ 50723364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239419" y="5941857"/>
            <a:ext cx="142875" cy="79375"/>
          </a:xfrm>
          <a:custGeom>
            <a:avLst/>
            <a:gdLst>
              <a:gd name="T0" fmla="*/ 565854 w 329"/>
              <a:gd name="T1" fmla="*/ 15408028 h 154"/>
              <a:gd name="T2" fmla="*/ 0 w 329"/>
              <a:gd name="T3" fmla="*/ 11157857 h 154"/>
              <a:gd name="T4" fmla="*/ 377381 w 329"/>
              <a:gd name="T5" fmla="*/ 8235414 h 154"/>
              <a:gd name="T6" fmla="*/ 3206219 w 329"/>
              <a:gd name="T7" fmla="*/ 8766814 h 154"/>
              <a:gd name="T8" fmla="*/ 6789385 w 329"/>
              <a:gd name="T9" fmla="*/ 10891899 h 154"/>
              <a:gd name="T10" fmla="*/ 9240842 w 329"/>
              <a:gd name="T11" fmla="*/ 11423300 h 154"/>
              <a:gd name="T12" fmla="*/ 12635535 w 329"/>
              <a:gd name="T13" fmla="*/ 11423300 h 154"/>
              <a:gd name="T14" fmla="*/ 16218701 w 329"/>
              <a:gd name="T15" fmla="*/ 10360499 h 154"/>
              <a:gd name="T16" fmla="*/ 20745103 w 329"/>
              <a:gd name="T17" fmla="*/ 7969972 h 154"/>
              <a:gd name="T18" fmla="*/ 26402779 w 329"/>
              <a:gd name="T19" fmla="*/ 3453328 h 154"/>
              <a:gd name="T20" fmla="*/ 30551799 w 329"/>
              <a:gd name="T21" fmla="*/ 1062800 h 154"/>
              <a:gd name="T22" fmla="*/ 33757584 w 329"/>
              <a:gd name="T23" fmla="*/ 0 h 154"/>
              <a:gd name="T24" fmla="*/ 38283986 w 329"/>
              <a:gd name="T25" fmla="*/ 0 h 154"/>
              <a:gd name="T26" fmla="*/ 42244533 w 329"/>
              <a:gd name="T27" fmla="*/ 1594200 h 154"/>
              <a:gd name="T28" fmla="*/ 45827699 w 329"/>
              <a:gd name="T29" fmla="*/ 3984728 h 154"/>
              <a:gd name="T30" fmla="*/ 48845011 w 329"/>
              <a:gd name="T31" fmla="*/ 7438571 h 154"/>
              <a:gd name="T32" fmla="*/ 52805558 w 329"/>
              <a:gd name="T33" fmla="*/ 12220142 h 154"/>
              <a:gd name="T34" fmla="*/ 56954578 w 329"/>
              <a:gd name="T35" fmla="*/ 16205386 h 154"/>
              <a:gd name="T36" fmla="*/ 60160363 w 329"/>
              <a:gd name="T37" fmla="*/ 17799071 h 154"/>
              <a:gd name="T38" fmla="*/ 59029089 w 329"/>
              <a:gd name="T39" fmla="*/ 21784314 h 154"/>
              <a:gd name="T40" fmla="*/ 55257015 w 329"/>
              <a:gd name="T41" fmla="*/ 28160085 h 154"/>
              <a:gd name="T42" fmla="*/ 52239703 w 329"/>
              <a:gd name="T43" fmla="*/ 36660942 h 154"/>
              <a:gd name="T44" fmla="*/ 49976720 w 329"/>
              <a:gd name="T45" fmla="*/ 40646185 h 154"/>
              <a:gd name="T46" fmla="*/ 47713302 w 329"/>
              <a:gd name="T47" fmla="*/ 38786542 h 154"/>
              <a:gd name="T48" fmla="*/ 45261845 w 329"/>
              <a:gd name="T49" fmla="*/ 36129541 h 154"/>
              <a:gd name="T50" fmla="*/ 43375808 w 329"/>
              <a:gd name="T51" fmla="*/ 33473056 h 154"/>
              <a:gd name="T52" fmla="*/ 43375808 w 329"/>
              <a:gd name="T53" fmla="*/ 30285170 h 154"/>
              <a:gd name="T54" fmla="*/ 44319043 w 329"/>
              <a:gd name="T55" fmla="*/ 26565885 h 154"/>
              <a:gd name="T56" fmla="*/ 46958974 w 329"/>
              <a:gd name="T57" fmla="*/ 22846599 h 154"/>
              <a:gd name="T58" fmla="*/ 43941662 w 329"/>
              <a:gd name="T59" fmla="*/ 18065028 h 154"/>
              <a:gd name="T60" fmla="*/ 39038314 w 329"/>
              <a:gd name="T61" fmla="*/ 14611185 h 154"/>
              <a:gd name="T62" fmla="*/ 36775330 w 329"/>
              <a:gd name="T63" fmla="*/ 10891899 h 154"/>
              <a:gd name="T64" fmla="*/ 33757584 w 329"/>
              <a:gd name="T65" fmla="*/ 9032256 h 154"/>
              <a:gd name="T66" fmla="*/ 30740273 w 329"/>
              <a:gd name="T67" fmla="*/ 10891899 h 154"/>
              <a:gd name="T68" fmla="*/ 28288816 w 329"/>
              <a:gd name="T69" fmla="*/ 13282942 h 154"/>
              <a:gd name="T70" fmla="*/ 26402779 w 329"/>
              <a:gd name="T71" fmla="*/ 16205386 h 154"/>
              <a:gd name="T72" fmla="*/ 24894123 w 329"/>
              <a:gd name="T73" fmla="*/ 19658713 h 154"/>
              <a:gd name="T74" fmla="*/ 24139795 w 329"/>
              <a:gd name="T75" fmla="*/ 23377999 h 154"/>
              <a:gd name="T76" fmla="*/ 23196560 w 329"/>
              <a:gd name="T77" fmla="*/ 28956928 h 154"/>
              <a:gd name="T78" fmla="*/ 23008086 w 329"/>
              <a:gd name="T79" fmla="*/ 33207614 h 154"/>
              <a:gd name="T80" fmla="*/ 22253758 w 329"/>
              <a:gd name="T81" fmla="*/ 34269899 h 154"/>
              <a:gd name="T82" fmla="*/ 20367722 w 329"/>
              <a:gd name="T83" fmla="*/ 35864099 h 154"/>
              <a:gd name="T84" fmla="*/ 18104738 w 329"/>
              <a:gd name="T85" fmla="*/ 35864099 h 154"/>
              <a:gd name="T86" fmla="*/ 15652847 w 329"/>
              <a:gd name="T87" fmla="*/ 34269899 h 154"/>
              <a:gd name="T88" fmla="*/ 12447062 w 329"/>
              <a:gd name="T89" fmla="*/ 30816571 h 154"/>
              <a:gd name="T90" fmla="*/ 9052369 w 329"/>
              <a:gd name="T91" fmla="*/ 24972200 h 154"/>
              <a:gd name="T92" fmla="*/ 6223531 w 329"/>
              <a:gd name="T93" fmla="*/ 21252914 h 154"/>
              <a:gd name="T94" fmla="*/ 4149021 w 329"/>
              <a:gd name="T95" fmla="*/ 19658713 h 154"/>
              <a:gd name="T96" fmla="*/ 565854 w 329"/>
              <a:gd name="T97" fmla="*/ 19393271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920457" y="7195982"/>
            <a:ext cx="133350" cy="155575"/>
          </a:xfrm>
          <a:custGeom>
            <a:avLst/>
            <a:gdLst>
              <a:gd name="T0" fmla="*/ 56402692 w 306"/>
              <a:gd name="T1" fmla="*/ 51029662 h 293"/>
              <a:gd name="T2" fmla="*/ 56212690 w 306"/>
              <a:gd name="T3" fmla="*/ 52157448 h 293"/>
              <a:gd name="T4" fmla="*/ 55263116 w 306"/>
              <a:gd name="T5" fmla="*/ 54694966 h 293"/>
              <a:gd name="T6" fmla="*/ 53553970 w 306"/>
              <a:gd name="T7" fmla="*/ 56104699 h 293"/>
              <a:gd name="T8" fmla="*/ 51654822 w 306"/>
              <a:gd name="T9" fmla="*/ 56668592 h 293"/>
              <a:gd name="T10" fmla="*/ 49945676 w 306"/>
              <a:gd name="T11" fmla="*/ 58359740 h 293"/>
              <a:gd name="T12" fmla="*/ 48046528 w 306"/>
              <a:gd name="T13" fmla="*/ 64562563 h 293"/>
              <a:gd name="T14" fmla="*/ 45957814 w 306"/>
              <a:gd name="T15" fmla="*/ 71610695 h 293"/>
              <a:gd name="T16" fmla="*/ 43868664 w 306"/>
              <a:gd name="T17" fmla="*/ 75275999 h 293"/>
              <a:gd name="T18" fmla="*/ 41969516 w 306"/>
              <a:gd name="T19" fmla="*/ 76967678 h 293"/>
              <a:gd name="T20" fmla="*/ 37981653 w 306"/>
              <a:gd name="T21" fmla="*/ 79222719 h 293"/>
              <a:gd name="T22" fmla="*/ 31145069 w 306"/>
              <a:gd name="T23" fmla="*/ 81760238 h 293"/>
              <a:gd name="T24" fmla="*/ 26397199 w 306"/>
              <a:gd name="T25" fmla="*/ 82606077 h 293"/>
              <a:gd name="T26" fmla="*/ 23358475 w 306"/>
              <a:gd name="T27" fmla="*/ 82606077 h 293"/>
              <a:gd name="T28" fmla="*/ 20130185 w 306"/>
              <a:gd name="T29" fmla="*/ 81760238 h 293"/>
              <a:gd name="T30" fmla="*/ 17471465 w 306"/>
              <a:gd name="T31" fmla="*/ 80632452 h 293"/>
              <a:gd name="T32" fmla="*/ 15192749 w 306"/>
              <a:gd name="T33" fmla="*/ 78376880 h 293"/>
              <a:gd name="T34" fmla="*/ 13483602 w 306"/>
              <a:gd name="T35" fmla="*/ 75557946 h 293"/>
              <a:gd name="T36" fmla="*/ 190002 w 306"/>
              <a:gd name="T37" fmla="*/ 66536189 h 293"/>
              <a:gd name="T38" fmla="*/ 0 w 306"/>
              <a:gd name="T39" fmla="*/ 24810230 h 293"/>
              <a:gd name="T40" fmla="*/ 190002 w 306"/>
              <a:gd name="T41" fmla="*/ 13814848 h 293"/>
              <a:gd name="T42" fmla="*/ 759572 w 306"/>
              <a:gd name="T43" fmla="*/ 9867597 h 293"/>
              <a:gd name="T44" fmla="*/ 2089150 w 306"/>
              <a:gd name="T45" fmla="*/ 5920346 h 293"/>
              <a:gd name="T46" fmla="*/ 3798296 w 306"/>
              <a:gd name="T47" fmla="*/ 2255572 h 293"/>
              <a:gd name="T48" fmla="*/ 7786158 w 306"/>
              <a:gd name="T49" fmla="*/ 563893 h 293"/>
              <a:gd name="T50" fmla="*/ 10065310 w 306"/>
              <a:gd name="T51" fmla="*/ 0 h 293"/>
              <a:gd name="T52" fmla="*/ 13673169 w 306"/>
              <a:gd name="T53" fmla="*/ 1691679 h 293"/>
              <a:gd name="T54" fmla="*/ 15192749 w 306"/>
              <a:gd name="T55" fmla="*/ 1973626 h 293"/>
              <a:gd name="T56" fmla="*/ 15952321 w 306"/>
              <a:gd name="T57" fmla="*/ 1127786 h 293"/>
              <a:gd name="T58" fmla="*/ 16521891 w 306"/>
              <a:gd name="T59" fmla="*/ 1409733 h 293"/>
              <a:gd name="T60" fmla="*/ 17091897 w 306"/>
              <a:gd name="T61" fmla="*/ 3101412 h 293"/>
              <a:gd name="T62" fmla="*/ 18801043 w 306"/>
              <a:gd name="T63" fmla="*/ 5356453 h 293"/>
              <a:gd name="T64" fmla="*/ 22978907 w 306"/>
              <a:gd name="T65" fmla="*/ 8739811 h 293"/>
              <a:gd name="T66" fmla="*/ 28106345 w 306"/>
              <a:gd name="T67" fmla="*/ 11559276 h 293"/>
              <a:gd name="T68" fmla="*/ 34563361 w 306"/>
              <a:gd name="T69" fmla="*/ 16633782 h 293"/>
              <a:gd name="T70" fmla="*/ 39880801 w 306"/>
              <a:gd name="T71" fmla="*/ 22272712 h 293"/>
              <a:gd name="T72" fmla="*/ 45767812 w 306"/>
              <a:gd name="T73" fmla="*/ 28756950 h 293"/>
              <a:gd name="T74" fmla="*/ 49566108 w 306"/>
              <a:gd name="T75" fmla="*/ 32986148 h 293"/>
              <a:gd name="T76" fmla="*/ 50515682 w 306"/>
              <a:gd name="T77" fmla="*/ 34959773 h 293"/>
              <a:gd name="T78" fmla="*/ 53174402 w 306"/>
              <a:gd name="T79" fmla="*/ 38060654 h 293"/>
              <a:gd name="T80" fmla="*/ 56782696 w 306"/>
              <a:gd name="T81" fmla="*/ 42571798 h 293"/>
              <a:gd name="T82" fmla="*/ 58111838 w 306"/>
              <a:gd name="T83" fmla="*/ 45391263 h 293"/>
              <a:gd name="T84" fmla="*/ 57731834 w 306"/>
              <a:gd name="T85" fmla="*/ 46800464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466682" y="3813019"/>
            <a:ext cx="236537" cy="92075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393657" y="4043207"/>
            <a:ext cx="449262" cy="361950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733382" y="4884582"/>
            <a:ext cx="49212" cy="90487"/>
          </a:xfrm>
          <a:custGeom>
            <a:avLst/>
            <a:gdLst>
              <a:gd name="T0" fmla="*/ 20181841 w 120"/>
              <a:gd name="T1" fmla="*/ 27084381 h 173"/>
              <a:gd name="T2" fmla="*/ 15472663 w 120"/>
              <a:gd name="T3" fmla="*/ 16414760 h 173"/>
              <a:gd name="T4" fmla="*/ 11772741 w 120"/>
              <a:gd name="T5" fmla="*/ 7660012 h 173"/>
              <a:gd name="T6" fmla="*/ 10090921 w 120"/>
              <a:gd name="T7" fmla="*/ 4377374 h 173"/>
              <a:gd name="T8" fmla="*/ 8913524 w 120"/>
              <a:gd name="T9" fmla="*/ 2188425 h 173"/>
              <a:gd name="T10" fmla="*/ 8072819 w 120"/>
              <a:gd name="T11" fmla="*/ 1094213 h 173"/>
              <a:gd name="T12" fmla="*/ 7568396 w 120"/>
              <a:gd name="T13" fmla="*/ 547106 h 173"/>
              <a:gd name="T14" fmla="*/ 7231703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7 w 120"/>
              <a:gd name="T21" fmla="*/ 273553 h 173"/>
              <a:gd name="T22" fmla="*/ 4036204 w 120"/>
              <a:gd name="T23" fmla="*/ 820660 h 173"/>
              <a:gd name="T24" fmla="*/ 3531781 w 120"/>
              <a:gd name="T25" fmla="*/ 1367766 h 173"/>
              <a:gd name="T26" fmla="*/ 3195499 w 120"/>
              <a:gd name="T27" fmla="*/ 2188425 h 173"/>
              <a:gd name="T28" fmla="*/ 2691076 w 120"/>
              <a:gd name="T29" fmla="*/ 3283161 h 173"/>
              <a:gd name="T30" fmla="*/ 2522935 w 120"/>
              <a:gd name="T31" fmla="*/ 4103821 h 173"/>
              <a:gd name="T32" fmla="*/ 2522935 w 120"/>
              <a:gd name="T33" fmla="*/ 5471587 h 173"/>
              <a:gd name="T34" fmla="*/ 2354384 w 120"/>
              <a:gd name="T35" fmla="*/ 8207119 h 173"/>
              <a:gd name="T36" fmla="*/ 2018102 w 120"/>
              <a:gd name="T37" fmla="*/ 11490280 h 173"/>
              <a:gd name="T38" fmla="*/ 1681820 w 120"/>
              <a:gd name="T39" fmla="*/ 13131599 h 173"/>
              <a:gd name="T40" fmla="*/ 1345538 w 120"/>
              <a:gd name="T41" fmla="*/ 14772918 h 173"/>
              <a:gd name="T42" fmla="*/ 672564 w 120"/>
              <a:gd name="T43" fmla="*/ 16688313 h 173"/>
              <a:gd name="T44" fmla="*/ 0 w 120"/>
              <a:gd name="T45" fmla="*/ 18603186 h 173"/>
              <a:gd name="T46" fmla="*/ 841115 w 120"/>
              <a:gd name="T47" fmla="*/ 22433453 h 173"/>
              <a:gd name="T48" fmla="*/ 1681820 w 120"/>
              <a:gd name="T49" fmla="*/ 27084381 h 173"/>
              <a:gd name="T50" fmla="*/ 2522935 w 120"/>
              <a:gd name="T51" fmla="*/ 31461232 h 173"/>
              <a:gd name="T52" fmla="*/ 3363640 w 120"/>
              <a:gd name="T53" fmla="*/ 35291499 h 173"/>
              <a:gd name="T54" fmla="*/ 4036204 w 120"/>
              <a:gd name="T55" fmla="*/ 36659265 h 173"/>
              <a:gd name="T56" fmla="*/ 5045460 w 120"/>
              <a:gd name="T57" fmla="*/ 38027031 h 173"/>
              <a:gd name="T58" fmla="*/ 6222857 w 120"/>
              <a:gd name="T59" fmla="*/ 39668873 h 173"/>
              <a:gd name="T60" fmla="*/ 7736537 w 120"/>
              <a:gd name="T61" fmla="*/ 41310192 h 173"/>
              <a:gd name="T62" fmla="*/ 9081665 w 120"/>
              <a:gd name="T63" fmla="*/ 42951511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19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17 w 120"/>
              <a:gd name="T77" fmla="*/ 43772171 h 173"/>
              <a:gd name="T78" fmla="*/ 15640804 w 120"/>
              <a:gd name="T79" fmla="*/ 41583745 h 173"/>
              <a:gd name="T80" fmla="*/ 16986342 w 120"/>
              <a:gd name="T81" fmla="*/ 38848214 h 173"/>
              <a:gd name="T82" fmla="*/ 17827457 w 120"/>
              <a:gd name="T83" fmla="*/ 36112159 h 173"/>
              <a:gd name="T84" fmla="*/ 18836303 w 120"/>
              <a:gd name="T85" fmla="*/ 33103074 h 173"/>
              <a:gd name="T86" fmla="*/ 19509277 w 120"/>
              <a:gd name="T87" fmla="*/ 30093466 h 173"/>
              <a:gd name="T88" fmla="*/ 20181841 w 120"/>
              <a:gd name="T89" fmla="*/ 27084381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441282" y="4724244"/>
            <a:ext cx="84137" cy="58738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379369" y="4543269"/>
            <a:ext cx="84138" cy="73025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360319" y="4606769"/>
            <a:ext cx="84138" cy="57150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5120732" y="5160807"/>
            <a:ext cx="33337" cy="131762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1 w 80"/>
              <a:gd name="T7" fmla="*/ 1883574 h 254"/>
              <a:gd name="T8" fmla="*/ 7987962 w 80"/>
              <a:gd name="T9" fmla="*/ 2690746 h 254"/>
              <a:gd name="T10" fmla="*/ 9029743 w 80"/>
              <a:gd name="T11" fmla="*/ 4843550 h 254"/>
              <a:gd name="T12" fmla="*/ 9724403 w 80"/>
              <a:gd name="T13" fmla="*/ 6727643 h 254"/>
              <a:gd name="T14" fmla="*/ 10766184 w 80"/>
              <a:gd name="T15" fmla="*/ 8611217 h 254"/>
              <a:gd name="T16" fmla="*/ 11634613 w 80"/>
              <a:gd name="T17" fmla="*/ 10225561 h 254"/>
              <a:gd name="T18" fmla="*/ 12155504 w 80"/>
              <a:gd name="T19" fmla="*/ 10764022 h 254"/>
              <a:gd name="T20" fmla="*/ 12676394 w 80"/>
              <a:gd name="T21" fmla="*/ 11301963 h 254"/>
              <a:gd name="T22" fmla="*/ 13197285 w 80"/>
              <a:gd name="T23" fmla="*/ 11571194 h 254"/>
              <a:gd name="T24" fmla="*/ 13891945 w 80"/>
              <a:gd name="T25" fmla="*/ 11840424 h 254"/>
              <a:gd name="T26" fmla="*/ 13891945 w 80"/>
              <a:gd name="T27" fmla="*/ 14262458 h 254"/>
              <a:gd name="T28" fmla="*/ 13891945 w 80"/>
              <a:gd name="T29" fmla="*/ 16683974 h 254"/>
              <a:gd name="T30" fmla="*/ 9203512 w 80"/>
              <a:gd name="T31" fmla="*/ 68351278 h 254"/>
              <a:gd name="T32" fmla="*/ 0 w 80"/>
              <a:gd name="T33" fmla="*/ 25026480 h 254"/>
              <a:gd name="T34" fmla="*/ 694660 w 80"/>
              <a:gd name="T35" fmla="*/ 23680848 h 254"/>
              <a:gd name="T36" fmla="*/ 1910210 w 80"/>
              <a:gd name="T37" fmla="*/ 19106009 h 254"/>
              <a:gd name="T38" fmla="*/ 2951991 w 80"/>
              <a:gd name="T39" fmla="*/ 15338861 h 254"/>
              <a:gd name="T40" fmla="*/ 3820420 w 80"/>
              <a:gd name="T41" fmla="*/ 11033252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5069932" y="5213194"/>
            <a:ext cx="69850" cy="130175"/>
          </a:xfrm>
          <a:custGeom>
            <a:avLst/>
            <a:gdLst>
              <a:gd name="T0" fmla="*/ 19943639 w 167"/>
              <a:gd name="T1" fmla="*/ 0 h 259"/>
              <a:gd name="T2" fmla="*/ 29215704 w 167"/>
              <a:gd name="T3" fmla="*/ 39155032 h 259"/>
              <a:gd name="T4" fmla="*/ 21168314 w 167"/>
              <a:gd name="T5" fmla="*/ 65426759 h 259"/>
              <a:gd name="T6" fmla="*/ 19768805 w 167"/>
              <a:gd name="T7" fmla="*/ 65426759 h 259"/>
              <a:gd name="T8" fmla="*/ 18718963 w 167"/>
              <a:gd name="T9" fmla="*/ 64921640 h 259"/>
              <a:gd name="T10" fmla="*/ 17494288 w 167"/>
              <a:gd name="T11" fmla="*/ 64163710 h 259"/>
              <a:gd name="T12" fmla="*/ 16619699 w 167"/>
              <a:gd name="T13" fmla="*/ 63405780 h 259"/>
              <a:gd name="T14" fmla="*/ 15569858 w 167"/>
              <a:gd name="T15" fmla="*/ 61890422 h 259"/>
              <a:gd name="T16" fmla="*/ 14870103 w 167"/>
              <a:gd name="T17" fmla="*/ 60626870 h 259"/>
              <a:gd name="T18" fmla="*/ 13995514 w 167"/>
              <a:gd name="T19" fmla="*/ 59363821 h 259"/>
              <a:gd name="T20" fmla="*/ 13295759 w 167"/>
              <a:gd name="T21" fmla="*/ 57848463 h 259"/>
              <a:gd name="T22" fmla="*/ 12071084 w 167"/>
              <a:gd name="T23" fmla="*/ 54817245 h 259"/>
              <a:gd name="T24" fmla="*/ 11371329 w 167"/>
              <a:gd name="T25" fmla="*/ 51785525 h 259"/>
              <a:gd name="T26" fmla="*/ 10846408 w 167"/>
              <a:gd name="T27" fmla="*/ 49007118 h 259"/>
              <a:gd name="T28" fmla="*/ 10846408 w 167"/>
              <a:gd name="T29" fmla="*/ 46733328 h 259"/>
              <a:gd name="T30" fmla="*/ 9621733 w 167"/>
              <a:gd name="T31" fmla="*/ 46481019 h 259"/>
              <a:gd name="T32" fmla="*/ 8921978 w 167"/>
              <a:gd name="T33" fmla="*/ 46228208 h 259"/>
              <a:gd name="T34" fmla="*/ 7872555 w 167"/>
              <a:gd name="T35" fmla="*/ 45975397 h 259"/>
              <a:gd name="T36" fmla="*/ 7347634 w 167"/>
              <a:gd name="T37" fmla="*/ 45470278 h 259"/>
              <a:gd name="T38" fmla="*/ 6822714 w 167"/>
              <a:gd name="T39" fmla="*/ 44712348 h 259"/>
              <a:gd name="T40" fmla="*/ 6297793 w 167"/>
              <a:gd name="T41" fmla="*/ 43954418 h 259"/>
              <a:gd name="T42" fmla="*/ 5948125 w 167"/>
              <a:gd name="T43" fmla="*/ 42944180 h 259"/>
              <a:gd name="T44" fmla="*/ 5598038 w 167"/>
              <a:gd name="T45" fmla="*/ 42186250 h 259"/>
              <a:gd name="T46" fmla="*/ 5248370 w 167"/>
              <a:gd name="T47" fmla="*/ 39912962 h 259"/>
              <a:gd name="T48" fmla="*/ 5073536 w 167"/>
              <a:gd name="T49" fmla="*/ 37639171 h 259"/>
              <a:gd name="T50" fmla="*/ 4898284 w 167"/>
              <a:gd name="T51" fmla="*/ 35365884 h 259"/>
              <a:gd name="T52" fmla="*/ 4898284 w 167"/>
              <a:gd name="T53" fmla="*/ 32586974 h 259"/>
              <a:gd name="T54" fmla="*/ 3674026 w 167"/>
              <a:gd name="T55" fmla="*/ 32586974 h 259"/>
              <a:gd name="T56" fmla="*/ 2799019 w 167"/>
              <a:gd name="T57" fmla="*/ 32081855 h 259"/>
              <a:gd name="T58" fmla="*/ 1924430 w 167"/>
              <a:gd name="T59" fmla="*/ 31576736 h 259"/>
              <a:gd name="T60" fmla="*/ 1224675 w 167"/>
              <a:gd name="T61" fmla="*/ 30565995 h 259"/>
              <a:gd name="T62" fmla="*/ 874589 w 167"/>
              <a:gd name="T63" fmla="*/ 29555756 h 259"/>
              <a:gd name="T64" fmla="*/ 350087 w 167"/>
              <a:gd name="T65" fmla="*/ 28292707 h 259"/>
              <a:gd name="T66" fmla="*/ 0 w 167"/>
              <a:gd name="T67" fmla="*/ 27029658 h 259"/>
              <a:gd name="T68" fmla="*/ 0 w 167"/>
              <a:gd name="T69" fmla="*/ 25513797 h 259"/>
              <a:gd name="T70" fmla="*/ 0 w 167"/>
              <a:gd name="T71" fmla="*/ 18945740 h 259"/>
              <a:gd name="T72" fmla="*/ 174834 w 167"/>
              <a:gd name="T73" fmla="*/ 12630493 h 259"/>
              <a:gd name="T74" fmla="*/ 2099264 w 167"/>
              <a:gd name="T75" fmla="*/ 13136115 h 259"/>
              <a:gd name="T76" fmla="*/ 3848860 w 167"/>
              <a:gd name="T77" fmla="*/ 13388423 h 259"/>
              <a:gd name="T78" fmla="*/ 5598038 w 167"/>
              <a:gd name="T79" fmla="*/ 13388423 h 259"/>
              <a:gd name="T80" fmla="*/ 7347634 w 167"/>
              <a:gd name="T81" fmla="*/ 13136115 h 259"/>
              <a:gd name="T82" fmla="*/ 8747144 w 167"/>
              <a:gd name="T83" fmla="*/ 12883304 h 259"/>
              <a:gd name="T84" fmla="*/ 10146654 w 167"/>
              <a:gd name="T85" fmla="*/ 12378185 h 259"/>
              <a:gd name="T86" fmla="*/ 11546163 w 167"/>
              <a:gd name="T87" fmla="*/ 11872563 h 259"/>
              <a:gd name="T88" fmla="*/ 12770839 w 167"/>
              <a:gd name="T89" fmla="*/ 11115136 h 259"/>
              <a:gd name="T90" fmla="*/ 13820680 w 167"/>
              <a:gd name="T91" fmla="*/ 10104395 h 259"/>
              <a:gd name="T92" fmla="*/ 15045355 w 167"/>
              <a:gd name="T93" fmla="*/ 9094156 h 259"/>
              <a:gd name="T94" fmla="*/ 15919944 w 167"/>
              <a:gd name="T95" fmla="*/ 7831107 h 259"/>
              <a:gd name="T96" fmla="*/ 16969786 w 167"/>
              <a:gd name="T97" fmla="*/ 6568058 h 259"/>
              <a:gd name="T98" fmla="*/ 18718963 w 167"/>
              <a:gd name="T99" fmla="*/ 3284029 h 259"/>
              <a:gd name="T100" fmla="*/ 19943639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071394" y="4467069"/>
            <a:ext cx="96838" cy="144463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884069" y="5378294"/>
            <a:ext cx="306388" cy="390525"/>
          </a:xfrm>
          <a:custGeom>
            <a:avLst/>
            <a:gdLst>
              <a:gd name="T0" fmla="*/ 163943993 w 232"/>
              <a:gd name="T1" fmla="*/ 610000050 h 248"/>
              <a:gd name="T2" fmla="*/ 167431798 w 232"/>
              <a:gd name="T3" fmla="*/ 602561179 h 248"/>
              <a:gd name="T4" fmla="*/ 170920923 w 232"/>
              <a:gd name="T5" fmla="*/ 590162010 h 248"/>
              <a:gd name="T6" fmla="*/ 174408728 w 232"/>
              <a:gd name="T7" fmla="*/ 575284267 h 248"/>
              <a:gd name="T8" fmla="*/ 179641095 w 232"/>
              <a:gd name="T9" fmla="*/ 572804118 h 248"/>
              <a:gd name="T10" fmla="*/ 181384337 w 232"/>
              <a:gd name="T11" fmla="*/ 590162010 h 248"/>
              <a:gd name="T12" fmla="*/ 184873463 w 232"/>
              <a:gd name="T13" fmla="*/ 597600881 h 248"/>
              <a:gd name="T14" fmla="*/ 188361267 w 232"/>
              <a:gd name="T15" fmla="*/ 600081030 h 248"/>
              <a:gd name="T16" fmla="*/ 191849072 w 232"/>
              <a:gd name="T17" fmla="*/ 600081030 h 248"/>
              <a:gd name="T18" fmla="*/ 197081440 w 232"/>
              <a:gd name="T19" fmla="*/ 597600881 h 248"/>
              <a:gd name="T20" fmla="*/ 202313807 w 232"/>
              <a:gd name="T21" fmla="*/ 590162010 h 248"/>
              <a:gd name="T22" fmla="*/ 376722535 w 232"/>
              <a:gd name="T23" fmla="*/ 580242990 h 248"/>
              <a:gd name="T24" fmla="*/ 371490167 w 232"/>
              <a:gd name="T25" fmla="*/ 505852701 h 248"/>
              <a:gd name="T26" fmla="*/ 361025432 w 232"/>
              <a:gd name="T27" fmla="*/ 342194382 h 248"/>
              <a:gd name="T28" fmla="*/ 350560698 w 232"/>
              <a:gd name="T29" fmla="*/ 181016211 h 248"/>
              <a:gd name="T30" fmla="*/ 345328330 w 232"/>
              <a:gd name="T31" fmla="*/ 106625923 h 248"/>
              <a:gd name="T32" fmla="*/ 374977972 w 232"/>
              <a:gd name="T33" fmla="*/ 109106071 h 248"/>
              <a:gd name="T34" fmla="*/ 404627614 w 232"/>
              <a:gd name="T35" fmla="*/ 114064794 h 248"/>
              <a:gd name="T36" fmla="*/ 280797999 w 232"/>
              <a:gd name="T37" fmla="*/ 4958723 h 248"/>
              <a:gd name="T38" fmla="*/ 279053436 w 232"/>
              <a:gd name="T39" fmla="*/ 19838040 h 248"/>
              <a:gd name="T40" fmla="*/ 280797999 w 232"/>
              <a:gd name="T41" fmla="*/ 44634803 h 248"/>
              <a:gd name="T42" fmla="*/ 170920923 w 232"/>
              <a:gd name="T43" fmla="*/ 59512546 h 248"/>
              <a:gd name="T44" fmla="*/ 170920923 w 232"/>
              <a:gd name="T45" fmla="*/ 183496360 h 248"/>
              <a:gd name="T46" fmla="*/ 165688555 w 232"/>
              <a:gd name="T47" fmla="*/ 188455082 h 248"/>
              <a:gd name="T48" fmla="*/ 151736016 w 232"/>
              <a:gd name="T49" fmla="*/ 193413805 h 248"/>
              <a:gd name="T50" fmla="*/ 125574178 w 232"/>
              <a:gd name="T51" fmla="*/ 203332825 h 248"/>
              <a:gd name="T52" fmla="*/ 129061983 w 232"/>
              <a:gd name="T53" fmla="*/ 218210568 h 248"/>
              <a:gd name="T54" fmla="*/ 136038913 w 232"/>
              <a:gd name="T55" fmla="*/ 238048608 h 248"/>
              <a:gd name="T56" fmla="*/ 139526718 w 232"/>
              <a:gd name="T57" fmla="*/ 260365222 h 248"/>
              <a:gd name="T58" fmla="*/ 141271281 w 232"/>
              <a:gd name="T59" fmla="*/ 285161985 h 248"/>
              <a:gd name="T60" fmla="*/ 15697102 w 232"/>
              <a:gd name="T61" fmla="*/ 295081005 h 248"/>
              <a:gd name="T62" fmla="*/ 8720172 w 232"/>
              <a:gd name="T63" fmla="*/ 322357916 h 248"/>
              <a:gd name="T64" fmla="*/ 10464735 w 232"/>
              <a:gd name="T65" fmla="*/ 354593551 h 248"/>
              <a:gd name="T66" fmla="*/ 13952540 w 232"/>
              <a:gd name="T67" fmla="*/ 384349036 h 248"/>
              <a:gd name="T68" fmla="*/ 15697102 w 232"/>
              <a:gd name="T69" fmla="*/ 416584670 h 248"/>
              <a:gd name="T70" fmla="*/ 15697102 w 232"/>
              <a:gd name="T71" fmla="*/ 451300453 h 248"/>
              <a:gd name="T72" fmla="*/ 13952540 w 232"/>
              <a:gd name="T73" fmla="*/ 481055939 h 248"/>
              <a:gd name="T74" fmla="*/ 10464735 w 232"/>
              <a:gd name="T75" fmla="*/ 510812999 h 248"/>
              <a:gd name="T76" fmla="*/ 3487805 w 232"/>
              <a:gd name="T77" fmla="*/ 535609762 h 248"/>
              <a:gd name="T78" fmla="*/ 3487805 w 232"/>
              <a:gd name="T79" fmla="*/ 543048633 h 248"/>
              <a:gd name="T80" fmla="*/ 5232367 w 232"/>
              <a:gd name="T81" fmla="*/ 545527207 h 248"/>
              <a:gd name="T82" fmla="*/ 5232367 w 232"/>
              <a:gd name="T83" fmla="*/ 550487504 h 248"/>
              <a:gd name="T84" fmla="*/ 12207977 w 232"/>
              <a:gd name="T85" fmla="*/ 538088336 h 248"/>
              <a:gd name="T86" fmla="*/ 31392884 w 232"/>
              <a:gd name="T87" fmla="*/ 528170890 h 248"/>
              <a:gd name="T88" fmla="*/ 62787089 w 232"/>
              <a:gd name="T89" fmla="*/ 513291573 h 248"/>
              <a:gd name="T90" fmla="*/ 78484192 w 232"/>
              <a:gd name="T91" fmla="*/ 515771721 h 248"/>
              <a:gd name="T92" fmla="*/ 88948927 w 232"/>
              <a:gd name="T93" fmla="*/ 525690742 h 248"/>
              <a:gd name="T94" fmla="*/ 97669099 w 232"/>
              <a:gd name="T95" fmla="*/ 530649464 h 248"/>
              <a:gd name="T96" fmla="*/ 108133834 w 232"/>
              <a:gd name="T97" fmla="*/ 533129613 h 248"/>
              <a:gd name="T98" fmla="*/ 115109443 w 232"/>
              <a:gd name="T99" fmla="*/ 543048633 h 248"/>
              <a:gd name="T100" fmla="*/ 116854006 w 232"/>
              <a:gd name="T101" fmla="*/ 557926376 h 248"/>
              <a:gd name="T102" fmla="*/ 122086374 w 232"/>
              <a:gd name="T103" fmla="*/ 572804118 h 248"/>
              <a:gd name="T104" fmla="*/ 129061983 w 232"/>
              <a:gd name="T105" fmla="*/ 582723139 h 248"/>
              <a:gd name="T106" fmla="*/ 148246890 w 232"/>
              <a:gd name="T107" fmla="*/ 602561179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999957" y="5438619"/>
            <a:ext cx="414337" cy="468313"/>
          </a:xfrm>
          <a:custGeom>
            <a:avLst/>
            <a:gdLst>
              <a:gd name="T0" fmla="*/ 17192363 w 948"/>
              <a:gd name="T1" fmla="*/ 216718265 h 893"/>
              <a:gd name="T2" fmla="*/ 23114148 w 948"/>
              <a:gd name="T3" fmla="*/ 216718265 h 893"/>
              <a:gd name="T4" fmla="*/ 27889513 w 948"/>
              <a:gd name="T5" fmla="*/ 215343218 h 893"/>
              <a:gd name="T6" fmla="*/ 35530709 w 948"/>
              <a:gd name="T7" fmla="*/ 213418048 h 893"/>
              <a:gd name="T8" fmla="*/ 37632114 w 948"/>
              <a:gd name="T9" fmla="*/ 223594023 h 893"/>
              <a:gd name="T10" fmla="*/ 40497508 w 948"/>
              <a:gd name="T11" fmla="*/ 229644333 h 893"/>
              <a:gd name="T12" fmla="*/ 43171905 w 948"/>
              <a:gd name="T13" fmla="*/ 232669750 h 893"/>
              <a:gd name="T14" fmla="*/ 46992284 w 948"/>
              <a:gd name="T15" fmla="*/ 233769998 h 893"/>
              <a:gd name="T16" fmla="*/ 46992284 w 948"/>
              <a:gd name="T17" fmla="*/ 242295602 h 893"/>
              <a:gd name="T18" fmla="*/ 62274239 w 948"/>
              <a:gd name="T19" fmla="*/ 244495571 h 893"/>
              <a:gd name="T20" fmla="*/ 63802216 w 948"/>
              <a:gd name="T21" fmla="*/ 240920555 h 893"/>
              <a:gd name="T22" fmla="*/ 66285616 w 948"/>
              <a:gd name="T23" fmla="*/ 239545508 h 893"/>
              <a:gd name="T24" fmla="*/ 66476613 w 948"/>
              <a:gd name="T25" fmla="*/ 244220772 h 893"/>
              <a:gd name="T26" fmla="*/ 68387021 w 948"/>
              <a:gd name="T27" fmla="*/ 245595819 h 893"/>
              <a:gd name="T28" fmla="*/ 73544818 w 948"/>
              <a:gd name="T29" fmla="*/ 245595819 h 893"/>
              <a:gd name="T30" fmla="*/ 76601208 w 948"/>
              <a:gd name="T31" fmla="*/ 234869720 h 893"/>
              <a:gd name="T32" fmla="*/ 78702614 w 948"/>
              <a:gd name="T33" fmla="*/ 216718265 h 893"/>
              <a:gd name="T34" fmla="*/ 80994579 w 948"/>
              <a:gd name="T35" fmla="*/ 212043001 h 893"/>
              <a:gd name="T36" fmla="*/ 86343373 w 948"/>
              <a:gd name="T37" fmla="*/ 207367738 h 893"/>
              <a:gd name="T38" fmla="*/ 92647152 w 948"/>
              <a:gd name="T39" fmla="*/ 204342320 h 893"/>
              <a:gd name="T40" fmla="*/ 95703543 w 948"/>
              <a:gd name="T41" fmla="*/ 200491980 h 893"/>
              <a:gd name="T42" fmla="*/ 98377940 w 948"/>
              <a:gd name="T43" fmla="*/ 193066623 h 893"/>
              <a:gd name="T44" fmla="*/ 102198319 w 948"/>
              <a:gd name="T45" fmla="*/ 183715571 h 893"/>
              <a:gd name="T46" fmla="*/ 104490721 w 948"/>
              <a:gd name="T47" fmla="*/ 181515602 h 893"/>
              <a:gd name="T48" fmla="*/ 109266524 w 948"/>
              <a:gd name="T49" fmla="*/ 181240278 h 893"/>
              <a:gd name="T50" fmla="*/ 115570303 w 948"/>
              <a:gd name="T51" fmla="*/ 177115138 h 893"/>
              <a:gd name="T52" fmla="*/ 122065079 w 948"/>
              <a:gd name="T53" fmla="*/ 171614426 h 893"/>
              <a:gd name="T54" fmla="*/ 128750852 w 948"/>
              <a:gd name="T55" fmla="*/ 168589533 h 893"/>
              <a:gd name="T56" fmla="*/ 138302456 w 948"/>
              <a:gd name="T57" fmla="*/ 167764086 h 893"/>
              <a:gd name="T58" fmla="*/ 150528020 w 948"/>
              <a:gd name="T59" fmla="*/ 165564116 h 893"/>
              <a:gd name="T60" fmla="*/ 155685379 w 948"/>
              <a:gd name="T61" fmla="*/ 163363622 h 893"/>
              <a:gd name="T62" fmla="*/ 164854989 w 948"/>
              <a:gd name="T63" fmla="*/ 162263899 h 893"/>
              <a:gd name="T64" fmla="*/ 172113754 w 948"/>
              <a:gd name="T65" fmla="*/ 160338729 h 893"/>
              <a:gd name="T66" fmla="*/ 174406157 w 948"/>
              <a:gd name="T67" fmla="*/ 157863435 h 893"/>
              <a:gd name="T68" fmla="*/ 177844542 w 948"/>
              <a:gd name="T69" fmla="*/ 149612631 h 893"/>
              <a:gd name="T70" fmla="*/ 180136944 w 948"/>
              <a:gd name="T71" fmla="*/ 138611733 h 893"/>
              <a:gd name="T72" fmla="*/ 181091930 w 948"/>
              <a:gd name="T73" fmla="*/ 126785912 h 893"/>
              <a:gd name="T74" fmla="*/ 180900933 w 948"/>
              <a:gd name="T75" fmla="*/ 115785014 h 893"/>
              <a:gd name="T76" fmla="*/ 180136944 w 948"/>
              <a:gd name="T77" fmla="*/ 99833528 h 893"/>
              <a:gd name="T78" fmla="*/ 176125131 w 948"/>
              <a:gd name="T79" fmla="*/ 97908358 h 893"/>
              <a:gd name="T80" fmla="*/ 164663555 w 948"/>
              <a:gd name="T81" fmla="*/ 88557307 h 893"/>
              <a:gd name="T82" fmla="*/ 151674003 w 948"/>
              <a:gd name="T83" fmla="*/ 76456686 h 893"/>
              <a:gd name="T84" fmla="*/ 140976416 w 948"/>
              <a:gd name="T85" fmla="*/ 59404953 h 893"/>
              <a:gd name="T86" fmla="*/ 78702614 w 948"/>
              <a:gd name="T87" fmla="*/ 3300217 h 893"/>
              <a:gd name="T88" fmla="*/ 66476613 w 948"/>
              <a:gd name="T89" fmla="*/ 28052630 h 893"/>
              <a:gd name="T90" fmla="*/ 72398398 w 948"/>
              <a:gd name="T91" fmla="*/ 111384550 h 893"/>
              <a:gd name="T92" fmla="*/ 74881797 w 948"/>
              <a:gd name="T93" fmla="*/ 155388141 h 893"/>
              <a:gd name="T94" fmla="*/ 17765354 w 948"/>
              <a:gd name="T95" fmla="*/ 162538699 h 893"/>
              <a:gd name="T96" fmla="*/ 15090958 w 948"/>
              <a:gd name="T97" fmla="*/ 166664363 h 893"/>
              <a:gd name="T98" fmla="*/ 12798555 w 948"/>
              <a:gd name="T99" fmla="*/ 167764086 h 893"/>
              <a:gd name="T100" fmla="*/ 10888584 w 948"/>
              <a:gd name="T101" fmla="*/ 166939163 h 893"/>
              <a:gd name="T102" fmla="*/ 9360170 w 948"/>
              <a:gd name="T103" fmla="*/ 162538699 h 893"/>
              <a:gd name="T104" fmla="*/ 7641196 w 948"/>
              <a:gd name="T105" fmla="*/ 159788605 h 893"/>
              <a:gd name="T106" fmla="*/ 5539791 w 948"/>
              <a:gd name="T107" fmla="*/ 166389039 h 893"/>
              <a:gd name="T108" fmla="*/ 2865394 w 948"/>
              <a:gd name="T109" fmla="*/ 171339627 h 893"/>
              <a:gd name="T110" fmla="*/ 12798555 w 948"/>
              <a:gd name="T111" fmla="*/ 201592227 h 893"/>
              <a:gd name="T112" fmla="*/ 11652573 w 948"/>
              <a:gd name="T113" fmla="*/ 205717367 h 893"/>
              <a:gd name="T114" fmla="*/ 11843570 w 948"/>
              <a:gd name="T115" fmla="*/ 209017584 h 893"/>
              <a:gd name="T116" fmla="*/ 10315156 w 948"/>
              <a:gd name="T117" fmla="*/ 216718265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098382" y="5044919"/>
            <a:ext cx="493712" cy="579438"/>
          </a:xfrm>
          <a:custGeom>
            <a:avLst/>
            <a:gdLst>
              <a:gd name="T0" fmla="*/ 416972213 w 373"/>
              <a:gd name="T1" fmla="*/ 900070800 h 370"/>
              <a:gd name="T2" fmla="*/ 427483116 w 373"/>
              <a:gd name="T3" fmla="*/ 895165936 h 370"/>
              <a:gd name="T4" fmla="*/ 446755091 w 373"/>
              <a:gd name="T5" fmla="*/ 902523233 h 370"/>
              <a:gd name="T6" fmla="*/ 651736901 w 373"/>
              <a:gd name="T7" fmla="*/ 679344074 h 370"/>
              <a:gd name="T8" fmla="*/ 646482112 w 373"/>
              <a:gd name="T9" fmla="*/ 662177048 h 370"/>
              <a:gd name="T10" fmla="*/ 632466250 w 373"/>
              <a:gd name="T11" fmla="*/ 647462455 h 370"/>
              <a:gd name="T12" fmla="*/ 607938161 w 373"/>
              <a:gd name="T13" fmla="*/ 635200294 h 370"/>
              <a:gd name="T14" fmla="*/ 593922300 w 373"/>
              <a:gd name="T15" fmla="*/ 622936567 h 370"/>
              <a:gd name="T16" fmla="*/ 588666186 w 373"/>
              <a:gd name="T17" fmla="*/ 605769542 h 370"/>
              <a:gd name="T18" fmla="*/ 590418665 w 373"/>
              <a:gd name="T19" fmla="*/ 559171764 h 370"/>
              <a:gd name="T20" fmla="*/ 590418665 w 373"/>
              <a:gd name="T21" fmla="*/ 480692369 h 370"/>
              <a:gd name="T22" fmla="*/ 585162552 w 373"/>
              <a:gd name="T23" fmla="*/ 412021135 h 370"/>
              <a:gd name="T24" fmla="*/ 576402804 w 373"/>
              <a:gd name="T25" fmla="*/ 380139517 h 370"/>
              <a:gd name="T26" fmla="*/ 565890577 w 373"/>
              <a:gd name="T27" fmla="*/ 348256332 h 370"/>
              <a:gd name="T28" fmla="*/ 551874715 w 373"/>
              <a:gd name="T29" fmla="*/ 267322938 h 370"/>
              <a:gd name="T30" fmla="*/ 536106374 w 373"/>
              <a:gd name="T31" fmla="*/ 220725161 h 370"/>
              <a:gd name="T32" fmla="*/ 520339357 w 373"/>
              <a:gd name="T33" fmla="*/ 191295975 h 370"/>
              <a:gd name="T34" fmla="*/ 525594147 w 373"/>
              <a:gd name="T35" fmla="*/ 154507926 h 370"/>
              <a:gd name="T36" fmla="*/ 527346626 w 373"/>
              <a:gd name="T37" fmla="*/ 105457716 h 370"/>
              <a:gd name="T38" fmla="*/ 529099105 w 373"/>
              <a:gd name="T39" fmla="*/ 56407506 h 370"/>
              <a:gd name="T40" fmla="*/ 543114967 w 373"/>
              <a:gd name="T41" fmla="*/ 17167025 h 370"/>
              <a:gd name="T42" fmla="*/ 529099105 w 373"/>
              <a:gd name="T43" fmla="*/ 14714593 h 370"/>
              <a:gd name="T44" fmla="*/ 487051521 w 373"/>
              <a:gd name="T45" fmla="*/ 29430752 h 370"/>
              <a:gd name="T46" fmla="*/ 429235595 w 373"/>
              <a:gd name="T47" fmla="*/ 29430752 h 370"/>
              <a:gd name="T48" fmla="*/ 360908766 w 373"/>
              <a:gd name="T49" fmla="*/ 34335617 h 370"/>
              <a:gd name="T50" fmla="*/ 294333093 w 373"/>
              <a:gd name="T51" fmla="*/ 58859938 h 370"/>
              <a:gd name="T52" fmla="*/ 254037987 w 373"/>
              <a:gd name="T53" fmla="*/ 78480962 h 370"/>
              <a:gd name="T54" fmla="*/ 217245193 w 373"/>
              <a:gd name="T55" fmla="*/ 107910148 h 370"/>
              <a:gd name="T56" fmla="*/ 215494037 w 373"/>
              <a:gd name="T57" fmla="*/ 127531172 h 370"/>
              <a:gd name="T58" fmla="*/ 229509899 w 373"/>
              <a:gd name="T59" fmla="*/ 218272729 h 370"/>
              <a:gd name="T60" fmla="*/ 234766012 w 373"/>
              <a:gd name="T61" fmla="*/ 228084023 h 370"/>
              <a:gd name="T62" fmla="*/ 247029395 w 373"/>
              <a:gd name="T63" fmla="*/ 240346184 h 370"/>
              <a:gd name="T64" fmla="*/ 248781874 w 373"/>
              <a:gd name="T65" fmla="*/ 250155913 h 370"/>
              <a:gd name="T66" fmla="*/ 243525760 w 373"/>
              <a:gd name="T67" fmla="*/ 262418074 h 370"/>
              <a:gd name="T68" fmla="*/ 224253785 w 373"/>
              <a:gd name="T69" fmla="*/ 262418074 h 370"/>
              <a:gd name="T70" fmla="*/ 185709835 w 373"/>
              <a:gd name="T71" fmla="*/ 277132667 h 370"/>
              <a:gd name="T72" fmla="*/ 166437860 w 373"/>
              <a:gd name="T73" fmla="*/ 299206123 h 370"/>
              <a:gd name="T74" fmla="*/ 157678112 w 373"/>
              <a:gd name="T75" fmla="*/ 321278012 h 370"/>
              <a:gd name="T76" fmla="*/ 143662250 w 373"/>
              <a:gd name="T77" fmla="*/ 335994172 h 370"/>
              <a:gd name="T78" fmla="*/ 115630527 w 373"/>
              <a:gd name="T79" fmla="*/ 367875790 h 370"/>
              <a:gd name="T80" fmla="*/ 89351283 w 373"/>
              <a:gd name="T81" fmla="*/ 387496813 h 370"/>
              <a:gd name="T82" fmla="*/ 54310967 w 373"/>
              <a:gd name="T83" fmla="*/ 392401678 h 370"/>
              <a:gd name="T84" fmla="*/ 35038992 w 373"/>
              <a:gd name="T85" fmla="*/ 402211407 h 370"/>
              <a:gd name="T86" fmla="*/ 14015862 w 373"/>
              <a:gd name="T87" fmla="*/ 426735728 h 370"/>
              <a:gd name="T88" fmla="*/ 0 w 373"/>
              <a:gd name="T89" fmla="*/ 490502097 h 370"/>
              <a:gd name="T90" fmla="*/ 313605068 w 373"/>
              <a:gd name="T91" fmla="*/ 811780110 h 370"/>
              <a:gd name="T92" fmla="*/ 352149018 w 373"/>
              <a:gd name="T93" fmla="*/ 863282752 h 370"/>
              <a:gd name="T94" fmla="*/ 401203872 w 373"/>
              <a:gd name="T95" fmla="*/ 902523233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534944" y="5179857"/>
            <a:ext cx="384175" cy="436562"/>
          </a:xfrm>
          <a:custGeom>
            <a:avLst/>
            <a:gdLst>
              <a:gd name="T0" fmla="*/ 6908141 w 877"/>
              <a:gd name="T1" fmla="*/ 39386772 h 826"/>
              <a:gd name="T2" fmla="*/ 8827264 w 877"/>
              <a:gd name="T3" fmla="*/ 30447821 h 826"/>
              <a:gd name="T4" fmla="*/ 8827264 w 877"/>
              <a:gd name="T5" fmla="*/ 19553855 h 826"/>
              <a:gd name="T6" fmla="*/ 11705291 w 877"/>
              <a:gd name="T7" fmla="*/ 17877901 h 826"/>
              <a:gd name="T8" fmla="*/ 17078484 w 877"/>
              <a:gd name="T9" fmla="*/ 15363706 h 826"/>
              <a:gd name="T10" fmla="*/ 18997607 w 877"/>
              <a:gd name="T11" fmla="*/ 5587042 h 826"/>
              <a:gd name="T12" fmla="*/ 32237846 w 877"/>
              <a:gd name="T13" fmla="*/ 1675954 h 826"/>
              <a:gd name="T14" fmla="*/ 46438303 w 877"/>
              <a:gd name="T15" fmla="*/ 6704345 h 826"/>
              <a:gd name="T16" fmla="*/ 52386664 w 877"/>
              <a:gd name="T17" fmla="*/ 12011797 h 826"/>
              <a:gd name="T18" fmla="*/ 54689523 w 877"/>
              <a:gd name="T19" fmla="*/ 21788461 h 826"/>
              <a:gd name="T20" fmla="*/ 56608208 w 877"/>
              <a:gd name="T21" fmla="*/ 28213216 h 826"/>
              <a:gd name="T22" fmla="*/ 62365138 w 877"/>
              <a:gd name="T23" fmla="*/ 30727411 h 826"/>
              <a:gd name="T24" fmla="*/ 69657016 w 877"/>
              <a:gd name="T25" fmla="*/ 30447821 h 826"/>
              <a:gd name="T26" fmla="*/ 80787140 w 877"/>
              <a:gd name="T27" fmla="*/ 37152166 h 826"/>
              <a:gd name="T28" fmla="*/ 91724957 w 877"/>
              <a:gd name="T29" fmla="*/ 45252875 h 826"/>
              <a:gd name="T30" fmla="*/ 98441230 w 877"/>
              <a:gd name="T31" fmla="*/ 46370178 h 826"/>
              <a:gd name="T32" fmla="*/ 103238380 w 877"/>
              <a:gd name="T33" fmla="*/ 44135573 h 826"/>
              <a:gd name="T34" fmla="*/ 105349371 w 877"/>
              <a:gd name="T35" fmla="*/ 35196622 h 826"/>
              <a:gd name="T36" fmla="*/ 104389590 w 877"/>
              <a:gd name="T37" fmla="*/ 28771867 h 826"/>
              <a:gd name="T38" fmla="*/ 101895300 w 877"/>
              <a:gd name="T39" fmla="*/ 22626702 h 826"/>
              <a:gd name="T40" fmla="*/ 103430248 w 877"/>
              <a:gd name="T41" fmla="*/ 13687751 h 826"/>
              <a:gd name="T42" fmla="*/ 110146521 w 877"/>
              <a:gd name="T43" fmla="*/ 9497602 h 826"/>
              <a:gd name="T44" fmla="*/ 118397741 w 877"/>
              <a:gd name="T45" fmla="*/ 1117303 h 826"/>
              <a:gd name="T46" fmla="*/ 124730277 w 877"/>
              <a:gd name="T47" fmla="*/ 0 h 826"/>
              <a:gd name="T48" fmla="*/ 130679076 w 877"/>
              <a:gd name="T49" fmla="*/ 1675954 h 826"/>
              <a:gd name="T50" fmla="*/ 133365672 w 877"/>
              <a:gd name="T51" fmla="*/ 6704345 h 826"/>
              <a:gd name="T52" fmla="*/ 135476225 w 877"/>
              <a:gd name="T53" fmla="*/ 13966813 h 826"/>
              <a:gd name="T54" fmla="*/ 139698208 w 877"/>
              <a:gd name="T55" fmla="*/ 17598311 h 826"/>
              <a:gd name="T56" fmla="*/ 153130753 w 877"/>
              <a:gd name="T57" fmla="*/ 19832917 h 826"/>
              <a:gd name="T58" fmla="*/ 159270982 w 877"/>
              <a:gd name="T59" fmla="*/ 27095913 h 826"/>
              <a:gd name="T60" fmla="*/ 160038894 w 877"/>
              <a:gd name="T61" fmla="*/ 32682427 h 826"/>
              <a:gd name="T62" fmla="*/ 161765711 w 877"/>
              <a:gd name="T63" fmla="*/ 39107710 h 826"/>
              <a:gd name="T64" fmla="*/ 160422631 w 877"/>
              <a:gd name="T65" fmla="*/ 44415163 h 826"/>
              <a:gd name="T66" fmla="*/ 158119772 w 877"/>
              <a:gd name="T67" fmla="*/ 47487481 h 826"/>
              <a:gd name="T68" fmla="*/ 159079114 w 877"/>
              <a:gd name="T69" fmla="*/ 57823324 h 826"/>
              <a:gd name="T70" fmla="*/ 164644176 w 877"/>
              <a:gd name="T71" fmla="*/ 68438229 h 826"/>
              <a:gd name="T72" fmla="*/ 168098246 w 877"/>
              <a:gd name="T73" fmla="*/ 191905996 h 826"/>
              <a:gd name="T74" fmla="*/ 168290115 w 877"/>
              <a:gd name="T75" fmla="*/ 206990111 h 826"/>
              <a:gd name="T76" fmla="*/ 166947035 w 877"/>
              <a:gd name="T77" fmla="*/ 216487713 h 826"/>
              <a:gd name="T78" fmla="*/ 162725053 w 877"/>
              <a:gd name="T79" fmla="*/ 218722319 h 826"/>
              <a:gd name="T80" fmla="*/ 159270982 w 877"/>
              <a:gd name="T81" fmla="*/ 224588422 h 826"/>
              <a:gd name="T82" fmla="*/ 70232622 w 877"/>
              <a:gd name="T83" fmla="*/ 165648324 h 826"/>
              <a:gd name="T84" fmla="*/ 63516349 w 877"/>
              <a:gd name="T85" fmla="*/ 169558884 h 826"/>
              <a:gd name="T86" fmla="*/ 56032603 w 877"/>
              <a:gd name="T87" fmla="*/ 174866336 h 826"/>
              <a:gd name="T88" fmla="*/ 50467979 w 877"/>
              <a:gd name="T89" fmla="*/ 175145398 h 826"/>
              <a:gd name="T90" fmla="*/ 44135443 w 877"/>
              <a:gd name="T91" fmla="*/ 170117535 h 826"/>
              <a:gd name="T92" fmla="*/ 37035434 w 877"/>
              <a:gd name="T93" fmla="*/ 163692780 h 826"/>
              <a:gd name="T94" fmla="*/ 29167512 w 877"/>
              <a:gd name="T95" fmla="*/ 161458175 h 826"/>
              <a:gd name="T96" fmla="*/ 26481354 w 877"/>
              <a:gd name="T97" fmla="*/ 161178585 h 826"/>
              <a:gd name="T98" fmla="*/ 24945968 w 877"/>
              <a:gd name="T99" fmla="*/ 154474768 h 826"/>
              <a:gd name="T100" fmla="*/ 20916292 w 877"/>
              <a:gd name="T101" fmla="*/ 149446377 h 826"/>
              <a:gd name="T102" fmla="*/ 12089466 w 877"/>
              <a:gd name="T103" fmla="*/ 144418515 h 826"/>
              <a:gd name="T104" fmla="*/ 5373193 w 877"/>
              <a:gd name="T105" fmla="*/ 139390124 h 826"/>
              <a:gd name="T106" fmla="*/ 3070334 w 877"/>
              <a:gd name="T107" fmla="*/ 134641323 h 826"/>
              <a:gd name="T108" fmla="*/ 2686597 w 877"/>
              <a:gd name="T109" fmla="*/ 122630054 h 826"/>
              <a:gd name="T110" fmla="*/ 3645939 w 877"/>
              <a:gd name="T111" fmla="*/ 98327398 h 826"/>
              <a:gd name="T112" fmla="*/ 3262202 w 877"/>
              <a:gd name="T113" fmla="*/ 72069727 h 826"/>
              <a:gd name="T114" fmla="*/ 767474 w 877"/>
              <a:gd name="T115" fmla="*/ 56426431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487319" y="5044919"/>
            <a:ext cx="93663" cy="236538"/>
          </a:xfrm>
          <a:custGeom>
            <a:avLst/>
            <a:gdLst>
              <a:gd name="T0" fmla="*/ 21293328 w 206"/>
              <a:gd name="T1" fmla="*/ 119183960 h 455"/>
              <a:gd name="T2" fmla="*/ 25840985 w 206"/>
              <a:gd name="T3" fmla="*/ 113508608 h 455"/>
              <a:gd name="T4" fmla="*/ 28941867 w 206"/>
              <a:gd name="T5" fmla="*/ 109184381 h 455"/>
              <a:gd name="T6" fmla="*/ 30389097 w 206"/>
              <a:gd name="T7" fmla="*/ 105400813 h 455"/>
              <a:gd name="T8" fmla="*/ 31423027 w 206"/>
              <a:gd name="T9" fmla="*/ 100806257 h 455"/>
              <a:gd name="T10" fmla="*/ 31836327 w 206"/>
              <a:gd name="T11" fmla="*/ 95130905 h 455"/>
              <a:gd name="T12" fmla="*/ 31629449 w 206"/>
              <a:gd name="T13" fmla="*/ 90536349 h 455"/>
              <a:gd name="T14" fmla="*/ 32249626 w 206"/>
              <a:gd name="T15" fmla="*/ 89455552 h 455"/>
              <a:gd name="T16" fmla="*/ 34730331 w 206"/>
              <a:gd name="T17" fmla="*/ 88914894 h 455"/>
              <a:gd name="T18" fmla="*/ 38244967 w 206"/>
              <a:gd name="T19" fmla="*/ 87834097 h 455"/>
              <a:gd name="T20" fmla="*/ 40518796 w 206"/>
              <a:gd name="T21" fmla="*/ 85942313 h 455"/>
              <a:gd name="T22" fmla="*/ 41966025 w 206"/>
              <a:gd name="T23" fmla="*/ 82158745 h 455"/>
              <a:gd name="T24" fmla="*/ 42586202 w 206"/>
              <a:gd name="T25" fmla="*/ 75672405 h 455"/>
              <a:gd name="T26" fmla="*/ 41759148 w 206"/>
              <a:gd name="T27" fmla="*/ 71618508 h 455"/>
              <a:gd name="T28" fmla="*/ 39898619 w 206"/>
              <a:gd name="T29" fmla="*/ 71348179 h 455"/>
              <a:gd name="T30" fmla="*/ 36590860 w 206"/>
              <a:gd name="T31" fmla="*/ 69186065 h 455"/>
              <a:gd name="T32" fmla="*/ 32043204 w 206"/>
              <a:gd name="T33" fmla="*/ 65402497 h 455"/>
              <a:gd name="T34" fmla="*/ 28941867 w 206"/>
              <a:gd name="T35" fmla="*/ 62429916 h 455"/>
              <a:gd name="T36" fmla="*/ 26874916 w 206"/>
              <a:gd name="T37" fmla="*/ 61618929 h 455"/>
              <a:gd name="T38" fmla="*/ 24600632 w 206"/>
              <a:gd name="T39" fmla="*/ 59997474 h 455"/>
              <a:gd name="T40" fmla="*/ 20879574 w 206"/>
              <a:gd name="T41" fmla="*/ 57294702 h 455"/>
              <a:gd name="T42" fmla="*/ 19639221 w 206"/>
              <a:gd name="T43" fmla="*/ 55673247 h 455"/>
              <a:gd name="T44" fmla="*/ 19639221 w 206"/>
              <a:gd name="T45" fmla="*/ 53781463 h 455"/>
              <a:gd name="T46" fmla="*/ 21499751 w 206"/>
              <a:gd name="T47" fmla="*/ 48916578 h 455"/>
              <a:gd name="T48" fmla="*/ 24600632 w 206"/>
              <a:gd name="T49" fmla="*/ 42700568 h 455"/>
              <a:gd name="T50" fmla="*/ 27701514 w 206"/>
              <a:gd name="T51" fmla="*/ 37836203 h 455"/>
              <a:gd name="T52" fmla="*/ 28115268 w 206"/>
              <a:gd name="T53" fmla="*/ 34863102 h 455"/>
              <a:gd name="T54" fmla="*/ 26047862 w 206"/>
              <a:gd name="T55" fmla="*/ 31349863 h 455"/>
              <a:gd name="T56" fmla="*/ 23774034 w 206"/>
              <a:gd name="T57" fmla="*/ 28377282 h 455"/>
              <a:gd name="T58" fmla="*/ 22326804 w 206"/>
              <a:gd name="T59" fmla="*/ 25133852 h 455"/>
              <a:gd name="T60" fmla="*/ 22119927 w 206"/>
              <a:gd name="T61" fmla="*/ 22701929 h 455"/>
              <a:gd name="T62" fmla="*/ 22946980 w 206"/>
              <a:gd name="T63" fmla="*/ 21079955 h 455"/>
              <a:gd name="T64" fmla="*/ 23980456 w 206"/>
              <a:gd name="T65" fmla="*/ 19458500 h 455"/>
              <a:gd name="T66" fmla="*/ 25427686 w 206"/>
              <a:gd name="T67" fmla="*/ 18648032 h 455"/>
              <a:gd name="T68" fmla="*/ 26047862 w 206"/>
              <a:gd name="T69" fmla="*/ 9999579 h 455"/>
              <a:gd name="T70" fmla="*/ 22740103 w 206"/>
              <a:gd name="T71" fmla="*/ 8648453 h 455"/>
              <a:gd name="T72" fmla="*/ 17985569 w 206"/>
              <a:gd name="T73" fmla="*/ 5675352 h 455"/>
              <a:gd name="T74" fmla="*/ 10956752 w 206"/>
              <a:gd name="T75" fmla="*/ 0 h 455"/>
              <a:gd name="T76" fmla="*/ 9716400 w 206"/>
              <a:gd name="T77" fmla="*/ 2973101 h 455"/>
              <a:gd name="T78" fmla="*/ 7028817 w 206"/>
              <a:gd name="T79" fmla="*/ 11891363 h 455"/>
              <a:gd name="T80" fmla="*/ 5788464 w 206"/>
              <a:gd name="T81" fmla="*/ 18917841 h 455"/>
              <a:gd name="T82" fmla="*/ 4548112 w 206"/>
              <a:gd name="T83" fmla="*/ 26755827 h 455"/>
              <a:gd name="T84" fmla="*/ 4134358 w 206"/>
              <a:gd name="T85" fmla="*/ 35944418 h 455"/>
              <a:gd name="T86" fmla="*/ 4134358 w 206"/>
              <a:gd name="T87" fmla="*/ 46484656 h 455"/>
              <a:gd name="T88" fmla="*/ 2480705 w 206"/>
              <a:gd name="T89" fmla="*/ 50808362 h 455"/>
              <a:gd name="T90" fmla="*/ 1653652 w 206"/>
              <a:gd name="T91" fmla="*/ 55673247 h 455"/>
              <a:gd name="T92" fmla="*/ 0 w 206"/>
              <a:gd name="T93" fmla="*/ 63510713 h 455"/>
              <a:gd name="T94" fmla="*/ 4548112 w 206"/>
              <a:gd name="T95" fmla="*/ 69997053 h 455"/>
              <a:gd name="T96" fmla="*/ 8476047 w 206"/>
              <a:gd name="T97" fmla="*/ 75942734 h 455"/>
              <a:gd name="T98" fmla="*/ 11370052 w 206"/>
              <a:gd name="T99" fmla="*/ 82428554 h 455"/>
              <a:gd name="T100" fmla="*/ 13644335 w 206"/>
              <a:gd name="T101" fmla="*/ 88914894 h 455"/>
              <a:gd name="T102" fmla="*/ 15504864 w 206"/>
              <a:gd name="T103" fmla="*/ 95941892 h 455"/>
              <a:gd name="T104" fmla="*/ 16951639 w 206"/>
              <a:gd name="T105" fmla="*/ 103779358 h 455"/>
              <a:gd name="T106" fmla="*/ 19225922 w 206"/>
              <a:gd name="T107" fmla="*/ 12296752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869782" y="5356069"/>
            <a:ext cx="231775" cy="215900"/>
          </a:xfrm>
          <a:custGeom>
            <a:avLst/>
            <a:gdLst>
              <a:gd name="T0" fmla="*/ 65266587 w 518"/>
              <a:gd name="T1" fmla="*/ 31106085 h 406"/>
              <a:gd name="T2" fmla="*/ 65266587 w 518"/>
              <a:gd name="T3" fmla="*/ 73240618 h 406"/>
              <a:gd name="T4" fmla="*/ 63064277 w 518"/>
              <a:gd name="T5" fmla="*/ 74654604 h 406"/>
              <a:gd name="T6" fmla="*/ 58259644 w 518"/>
              <a:gd name="T7" fmla="*/ 76634396 h 406"/>
              <a:gd name="T8" fmla="*/ 49250398 w 518"/>
              <a:gd name="T9" fmla="*/ 80027642 h 406"/>
              <a:gd name="T10" fmla="*/ 50651786 w 518"/>
              <a:gd name="T11" fmla="*/ 85400681 h 406"/>
              <a:gd name="T12" fmla="*/ 53054103 w 518"/>
              <a:gd name="T13" fmla="*/ 92187173 h 406"/>
              <a:gd name="T14" fmla="*/ 53855024 w 518"/>
              <a:gd name="T15" fmla="*/ 99822375 h 406"/>
              <a:gd name="T16" fmla="*/ 54455492 w 518"/>
              <a:gd name="T17" fmla="*/ 108022853 h 406"/>
              <a:gd name="T18" fmla="*/ 10410635 w 518"/>
              <a:gd name="T19" fmla="*/ 111416631 h 406"/>
              <a:gd name="T20" fmla="*/ 4404620 w 518"/>
              <a:gd name="T21" fmla="*/ 114809877 h 406"/>
              <a:gd name="T22" fmla="*/ 1000928 w 518"/>
              <a:gd name="T23" fmla="*/ 113961698 h 406"/>
              <a:gd name="T24" fmla="*/ 200007 w 518"/>
              <a:gd name="T25" fmla="*/ 112547713 h 406"/>
              <a:gd name="T26" fmla="*/ 200007 w 518"/>
              <a:gd name="T27" fmla="*/ 108871563 h 406"/>
              <a:gd name="T28" fmla="*/ 800921 w 518"/>
              <a:gd name="T29" fmla="*/ 104912510 h 406"/>
              <a:gd name="T30" fmla="*/ 2202310 w 518"/>
              <a:gd name="T31" fmla="*/ 100105279 h 406"/>
              <a:gd name="T32" fmla="*/ 4004159 w 518"/>
              <a:gd name="T33" fmla="*/ 96429129 h 406"/>
              <a:gd name="T34" fmla="*/ 6006015 w 518"/>
              <a:gd name="T35" fmla="*/ 94449337 h 406"/>
              <a:gd name="T36" fmla="*/ 7607858 w 518"/>
              <a:gd name="T37" fmla="*/ 92187173 h 406"/>
              <a:gd name="T38" fmla="*/ 8808792 w 518"/>
              <a:gd name="T39" fmla="*/ 89642105 h 406"/>
              <a:gd name="T40" fmla="*/ 9810168 w 518"/>
              <a:gd name="T41" fmla="*/ 82572710 h 406"/>
              <a:gd name="T42" fmla="*/ 11211556 w 518"/>
              <a:gd name="T43" fmla="*/ 74937507 h 406"/>
              <a:gd name="T44" fmla="*/ 12412491 w 518"/>
              <a:gd name="T45" fmla="*/ 72675343 h 406"/>
              <a:gd name="T46" fmla="*/ 14815255 w 518"/>
              <a:gd name="T47" fmla="*/ 69564469 h 406"/>
              <a:gd name="T48" fmla="*/ 18418953 w 518"/>
              <a:gd name="T49" fmla="*/ 67302305 h 406"/>
              <a:gd name="T50" fmla="*/ 21421737 w 518"/>
              <a:gd name="T51" fmla="*/ 65323044 h 406"/>
              <a:gd name="T52" fmla="*/ 24424969 w 518"/>
              <a:gd name="T53" fmla="*/ 61646895 h 406"/>
              <a:gd name="T54" fmla="*/ 27227746 w 518"/>
              <a:gd name="T55" fmla="*/ 55142774 h 406"/>
              <a:gd name="T56" fmla="*/ 30030523 w 518"/>
              <a:gd name="T57" fmla="*/ 44114326 h 406"/>
              <a:gd name="T58" fmla="*/ 32433287 w 518"/>
              <a:gd name="T59" fmla="*/ 33085346 h 406"/>
              <a:gd name="T60" fmla="*/ 34435143 w 518"/>
              <a:gd name="T61" fmla="*/ 26581757 h 406"/>
              <a:gd name="T62" fmla="*/ 37237920 w 518"/>
              <a:gd name="T63" fmla="*/ 20642912 h 406"/>
              <a:gd name="T64" fmla="*/ 40241151 w 518"/>
              <a:gd name="T65" fmla="*/ 17532569 h 406"/>
              <a:gd name="T66" fmla="*/ 42643468 w 518"/>
              <a:gd name="T67" fmla="*/ 16118583 h 406"/>
              <a:gd name="T68" fmla="*/ 43844850 w 518"/>
              <a:gd name="T69" fmla="*/ 12442434 h 406"/>
              <a:gd name="T70" fmla="*/ 44645771 w 518"/>
              <a:gd name="T71" fmla="*/ 7918106 h 406"/>
              <a:gd name="T72" fmla="*/ 45646699 w 518"/>
              <a:gd name="T73" fmla="*/ 4524328 h 406"/>
              <a:gd name="T74" fmla="*/ 47849009 w 518"/>
              <a:gd name="T75" fmla="*/ 2262164 h 406"/>
              <a:gd name="T76" fmla="*/ 102304501 w 518"/>
              <a:gd name="T77" fmla="*/ 0 h 406"/>
              <a:gd name="T78" fmla="*/ 103105422 w 518"/>
              <a:gd name="T79" fmla="*/ 13008241 h 406"/>
              <a:gd name="T80" fmla="*/ 103705889 w 518"/>
              <a:gd name="T81" fmla="*/ 3110608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838032" y="4163857"/>
            <a:ext cx="190500" cy="93662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630194" y="4427382"/>
            <a:ext cx="14288" cy="57150"/>
          </a:xfrm>
          <a:custGeom>
            <a:avLst/>
            <a:gdLst>
              <a:gd name="T0" fmla="*/ 0 w 28"/>
              <a:gd name="T1" fmla="*/ 44741404 h 73"/>
              <a:gd name="T2" fmla="*/ 521002 w 28"/>
              <a:gd name="T3" fmla="*/ 28805949 h 73"/>
              <a:gd name="T4" fmla="*/ 1562495 w 28"/>
              <a:gd name="T5" fmla="*/ 17161440 h 73"/>
              <a:gd name="T6" fmla="*/ 1822741 w 28"/>
              <a:gd name="T7" fmla="*/ 12258284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7 w 28"/>
              <a:gd name="T17" fmla="*/ 9806314 h 73"/>
              <a:gd name="T18" fmla="*/ 4426729 w 28"/>
              <a:gd name="T19" fmla="*/ 18386642 h 73"/>
              <a:gd name="T20" fmla="*/ 3124479 w 28"/>
              <a:gd name="T21" fmla="*/ 26354762 h 73"/>
              <a:gd name="T22" fmla="*/ 1822741 w 28"/>
              <a:gd name="T23" fmla="*/ 33709105 h 73"/>
              <a:gd name="T24" fmla="*/ 0 w 28"/>
              <a:gd name="T25" fmla="*/ 44741404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517482" y="4090832"/>
            <a:ext cx="234950" cy="395287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655594" y="4405157"/>
            <a:ext cx="26988" cy="57150"/>
          </a:xfrm>
          <a:custGeom>
            <a:avLst/>
            <a:gdLst>
              <a:gd name="T0" fmla="*/ 0 w 60"/>
              <a:gd name="T1" fmla="*/ 46461829 h 51"/>
              <a:gd name="T2" fmla="*/ 1214010 w 60"/>
              <a:gd name="T3" fmla="*/ 37671935 h 51"/>
              <a:gd name="T4" fmla="*/ 3034801 w 60"/>
              <a:gd name="T5" fmla="*/ 23858444 h 51"/>
              <a:gd name="T6" fmla="*/ 4046401 w 60"/>
              <a:gd name="T7" fmla="*/ 16324729 h 51"/>
              <a:gd name="T8" fmla="*/ 5462821 w 60"/>
              <a:gd name="T9" fmla="*/ 10046074 h 51"/>
              <a:gd name="T10" fmla="*/ 6676381 w 60"/>
              <a:gd name="T11" fmla="*/ 5022476 h 51"/>
              <a:gd name="T12" fmla="*/ 8092802 w 60"/>
              <a:gd name="T13" fmla="*/ 0 h 51"/>
              <a:gd name="T14" fmla="*/ 10116002 w 60"/>
              <a:gd name="T15" fmla="*/ 8789894 h 51"/>
              <a:gd name="T16" fmla="*/ 12139202 w 60"/>
              <a:gd name="T17" fmla="*/ 16324729 h 51"/>
              <a:gd name="T18" fmla="*/ 11936792 w 60"/>
              <a:gd name="T19" fmla="*/ 25114624 h 51"/>
              <a:gd name="T20" fmla="*/ 11330012 w 60"/>
              <a:gd name="T21" fmla="*/ 36415756 h 51"/>
              <a:gd name="T22" fmla="*/ 10925192 w 60"/>
              <a:gd name="T23" fmla="*/ 42694412 h 51"/>
              <a:gd name="T24" fmla="*/ 10520822 w 60"/>
              <a:gd name="T25" fmla="*/ 47716888 h 51"/>
              <a:gd name="T26" fmla="*/ 9913592 w 60"/>
              <a:gd name="T27" fmla="*/ 52740485 h 51"/>
              <a:gd name="T28" fmla="*/ 9104402 w 60"/>
              <a:gd name="T29" fmla="*/ 56506782 h 51"/>
              <a:gd name="T30" fmla="*/ 8295212 w 60"/>
              <a:gd name="T31" fmla="*/ 60274200 h 51"/>
              <a:gd name="T32" fmla="*/ 7486021 w 60"/>
              <a:gd name="T33" fmla="*/ 62785438 h 51"/>
              <a:gd name="T34" fmla="*/ 6272011 w 60"/>
              <a:gd name="T35" fmla="*/ 64041618 h 51"/>
              <a:gd name="T36" fmla="*/ 5462821 w 60"/>
              <a:gd name="T37" fmla="*/ 64041618 h 51"/>
              <a:gd name="T38" fmla="*/ 4046401 w 60"/>
              <a:gd name="T39" fmla="*/ 62785438 h 51"/>
              <a:gd name="T40" fmla="*/ 3034801 w 60"/>
              <a:gd name="T41" fmla="*/ 59019141 h 51"/>
              <a:gd name="T42" fmla="*/ 1416420 w 60"/>
              <a:gd name="T43" fmla="*/ 53995544 h 51"/>
              <a:gd name="T44" fmla="*/ 0 w 60"/>
              <a:gd name="T45" fmla="*/ 46461829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099969" y="4567082"/>
            <a:ext cx="28575" cy="57150"/>
          </a:xfrm>
          <a:custGeom>
            <a:avLst/>
            <a:gdLst>
              <a:gd name="T0" fmla="*/ 11059391 w 66"/>
              <a:gd name="T1" fmla="*/ 60274200 h 51"/>
              <a:gd name="T2" fmla="*/ 7872845 w 66"/>
              <a:gd name="T3" fmla="*/ 62785438 h 51"/>
              <a:gd name="T4" fmla="*/ 4123892 w 66"/>
              <a:gd name="T5" fmla="*/ 64041618 h 51"/>
              <a:gd name="T6" fmla="*/ 3186545 w 66"/>
              <a:gd name="T7" fmla="*/ 62785438 h 51"/>
              <a:gd name="T8" fmla="*/ 2436668 w 66"/>
              <a:gd name="T9" fmla="*/ 61530379 h 51"/>
              <a:gd name="T10" fmla="*/ 1874693 w 66"/>
              <a:gd name="T11" fmla="*/ 60274200 h 51"/>
              <a:gd name="T12" fmla="*/ 1312285 w 66"/>
              <a:gd name="T13" fmla="*/ 57762962 h 51"/>
              <a:gd name="T14" fmla="*/ 562408 w 66"/>
              <a:gd name="T15" fmla="*/ 53995544 h 51"/>
              <a:gd name="T16" fmla="*/ 187469 w 66"/>
              <a:gd name="T17" fmla="*/ 50229247 h 51"/>
              <a:gd name="T18" fmla="*/ 0 w 66"/>
              <a:gd name="T19" fmla="*/ 43950591 h 51"/>
              <a:gd name="T20" fmla="*/ 0 w 66"/>
              <a:gd name="T21" fmla="*/ 37671935 h 51"/>
              <a:gd name="T22" fmla="*/ 749877 w 66"/>
              <a:gd name="T23" fmla="*/ 36415756 h 51"/>
              <a:gd name="T24" fmla="*/ 1874693 w 66"/>
              <a:gd name="T25" fmla="*/ 33904518 h 51"/>
              <a:gd name="T26" fmla="*/ 2624138 w 66"/>
              <a:gd name="T27" fmla="*/ 30137100 h 51"/>
              <a:gd name="T28" fmla="*/ 3561484 w 66"/>
              <a:gd name="T29" fmla="*/ 25114624 h 51"/>
              <a:gd name="T30" fmla="*/ 4873769 w 66"/>
              <a:gd name="T31" fmla="*/ 12557312 h 51"/>
              <a:gd name="T32" fmla="*/ 6186055 w 66"/>
              <a:gd name="T33" fmla="*/ 0 h 51"/>
              <a:gd name="T34" fmla="*/ 8622723 w 66"/>
              <a:gd name="T35" fmla="*/ 1256179 h 51"/>
              <a:gd name="T36" fmla="*/ 9747539 w 66"/>
              <a:gd name="T37" fmla="*/ 2511238 h 51"/>
              <a:gd name="T38" fmla="*/ 10496983 w 66"/>
              <a:gd name="T39" fmla="*/ 3767418 h 51"/>
              <a:gd name="T40" fmla="*/ 12371676 w 66"/>
              <a:gd name="T41" fmla="*/ 0 h 51"/>
              <a:gd name="T42" fmla="*/ 12184207 w 66"/>
              <a:gd name="T43" fmla="*/ 16324729 h 51"/>
              <a:gd name="T44" fmla="*/ 11809268 w 66"/>
              <a:gd name="T45" fmla="*/ 30137100 h 51"/>
              <a:gd name="T46" fmla="*/ 11246860 w 66"/>
              <a:gd name="T47" fmla="*/ 45205650 h 51"/>
              <a:gd name="T48" fmla="*/ 11059391 w 66"/>
              <a:gd name="T49" fmla="*/ 60274200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5052469" y="5095719"/>
            <a:ext cx="50800" cy="57150"/>
          </a:xfrm>
          <a:custGeom>
            <a:avLst/>
            <a:gdLst>
              <a:gd name="T0" fmla="*/ 0 w 113"/>
              <a:gd name="T1" fmla="*/ 26243434 h 74"/>
              <a:gd name="T2" fmla="*/ 4041972 w 113"/>
              <a:gd name="T3" fmla="*/ 44136791 h 74"/>
              <a:gd name="T4" fmla="*/ 7477940 w 113"/>
              <a:gd name="T5" fmla="*/ 41154951 h 74"/>
              <a:gd name="T6" fmla="*/ 10307005 w 113"/>
              <a:gd name="T7" fmla="*/ 38768552 h 74"/>
              <a:gd name="T8" fmla="*/ 12934669 w 113"/>
              <a:gd name="T9" fmla="*/ 35190499 h 74"/>
              <a:gd name="T10" fmla="*/ 14955430 w 113"/>
              <a:gd name="T11" fmla="*/ 31611673 h 74"/>
              <a:gd name="T12" fmla="*/ 15763735 w 113"/>
              <a:gd name="T13" fmla="*/ 29226047 h 74"/>
              <a:gd name="T14" fmla="*/ 16774340 w 113"/>
              <a:gd name="T15" fmla="*/ 26839648 h 74"/>
              <a:gd name="T16" fmla="*/ 17380793 w 113"/>
              <a:gd name="T17" fmla="*/ 24454022 h 74"/>
              <a:gd name="T18" fmla="*/ 17784945 w 113"/>
              <a:gd name="T19" fmla="*/ 22068395 h 74"/>
              <a:gd name="T20" fmla="*/ 18189097 w 113"/>
              <a:gd name="T21" fmla="*/ 19086555 h 74"/>
              <a:gd name="T22" fmla="*/ 18391398 w 113"/>
              <a:gd name="T23" fmla="*/ 15507730 h 74"/>
              <a:gd name="T24" fmla="*/ 18795550 w 113"/>
              <a:gd name="T25" fmla="*/ 11332691 h 74"/>
              <a:gd name="T26" fmla="*/ 18997402 w 113"/>
              <a:gd name="T27" fmla="*/ 7753865 h 74"/>
              <a:gd name="T28" fmla="*/ 20008007 w 113"/>
              <a:gd name="T29" fmla="*/ 7157651 h 74"/>
              <a:gd name="T30" fmla="*/ 21422765 w 113"/>
              <a:gd name="T31" fmla="*/ 5368239 h 74"/>
              <a:gd name="T32" fmla="*/ 21826917 w 113"/>
              <a:gd name="T33" fmla="*/ 4175039 h 74"/>
              <a:gd name="T34" fmla="*/ 22433370 w 113"/>
              <a:gd name="T35" fmla="*/ 2981840 h 74"/>
              <a:gd name="T36" fmla="*/ 22635221 w 113"/>
              <a:gd name="T37" fmla="*/ 1789413 h 74"/>
              <a:gd name="T38" fmla="*/ 22837522 w 113"/>
              <a:gd name="T39" fmla="*/ 0 h 74"/>
              <a:gd name="T40" fmla="*/ 19806156 w 113"/>
              <a:gd name="T41" fmla="*/ 2385626 h 74"/>
              <a:gd name="T42" fmla="*/ 16572488 w 113"/>
              <a:gd name="T43" fmla="*/ 4771253 h 74"/>
              <a:gd name="T44" fmla="*/ 13136520 w 113"/>
              <a:gd name="T45" fmla="*/ 7753865 h 74"/>
              <a:gd name="T46" fmla="*/ 9902853 w 113"/>
              <a:gd name="T47" fmla="*/ 11332691 h 74"/>
              <a:gd name="T48" fmla="*/ 4041972 w 113"/>
              <a:gd name="T49" fmla="*/ 19682769 h 74"/>
              <a:gd name="T50" fmla="*/ 0 w 113"/>
              <a:gd name="T51" fmla="*/ 26243434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660357" y="5887882"/>
            <a:ext cx="325437" cy="244475"/>
          </a:xfrm>
          <a:custGeom>
            <a:avLst/>
            <a:gdLst>
              <a:gd name="T0" fmla="*/ 18650245 w 746"/>
              <a:gd name="T1" fmla="*/ 122817672 h 469"/>
              <a:gd name="T2" fmla="*/ 10276568 w 746"/>
              <a:gd name="T3" fmla="*/ 119557137 h 469"/>
              <a:gd name="T4" fmla="*/ 3996419 w 746"/>
              <a:gd name="T5" fmla="*/ 116568182 h 469"/>
              <a:gd name="T6" fmla="*/ 951445 w 746"/>
              <a:gd name="T7" fmla="*/ 112220801 h 469"/>
              <a:gd name="T8" fmla="*/ 0 w 746"/>
              <a:gd name="T9" fmla="*/ 98634976 h 469"/>
              <a:gd name="T10" fmla="*/ 951445 w 746"/>
              <a:gd name="T11" fmla="*/ 83961785 h 469"/>
              <a:gd name="T12" fmla="*/ 4377259 w 746"/>
              <a:gd name="T13" fmla="*/ 74179657 h 469"/>
              <a:gd name="T14" fmla="*/ 10657407 w 746"/>
              <a:gd name="T15" fmla="*/ 61952259 h 469"/>
              <a:gd name="T16" fmla="*/ 23027067 w 746"/>
              <a:gd name="T17" fmla="*/ 55431188 h 469"/>
              <a:gd name="T18" fmla="*/ 31590946 w 746"/>
              <a:gd name="T19" fmla="*/ 51083807 h 469"/>
              <a:gd name="T20" fmla="*/ 44722285 w 746"/>
              <a:gd name="T21" fmla="*/ 47007486 h 469"/>
              <a:gd name="T22" fmla="*/ 49860787 w 746"/>
              <a:gd name="T23" fmla="*/ 41573260 h 469"/>
              <a:gd name="T24" fmla="*/ 50812233 w 746"/>
              <a:gd name="T25" fmla="*/ 36954299 h 469"/>
              <a:gd name="T26" fmla="*/ 55569895 w 746"/>
              <a:gd name="T27" fmla="*/ 32606397 h 469"/>
              <a:gd name="T28" fmla="*/ 63182328 w 746"/>
              <a:gd name="T29" fmla="*/ 31247971 h 469"/>
              <a:gd name="T30" fmla="*/ 68320394 w 746"/>
              <a:gd name="T31" fmla="*/ 27443752 h 469"/>
              <a:gd name="T32" fmla="*/ 74029501 w 746"/>
              <a:gd name="T33" fmla="*/ 18205308 h 469"/>
              <a:gd name="T34" fmla="*/ 80880692 w 746"/>
              <a:gd name="T35" fmla="*/ 5977909 h 469"/>
              <a:gd name="T36" fmla="*/ 85638354 w 746"/>
              <a:gd name="T37" fmla="*/ 1630528 h 469"/>
              <a:gd name="T38" fmla="*/ 92489544 w 746"/>
              <a:gd name="T39" fmla="*/ 0 h 469"/>
              <a:gd name="T40" fmla="*/ 96485963 w 746"/>
              <a:gd name="T41" fmla="*/ 7880018 h 469"/>
              <a:gd name="T42" fmla="*/ 101243625 w 746"/>
              <a:gd name="T43" fmla="*/ 14401089 h 469"/>
              <a:gd name="T44" fmla="*/ 105240044 w 746"/>
              <a:gd name="T45" fmla="*/ 29074281 h 469"/>
              <a:gd name="T46" fmla="*/ 110187908 w 746"/>
              <a:gd name="T47" fmla="*/ 43203789 h 469"/>
              <a:gd name="T48" fmla="*/ 116658695 w 746"/>
              <a:gd name="T49" fmla="*/ 46735905 h 469"/>
              <a:gd name="T50" fmla="*/ 119513030 w 746"/>
              <a:gd name="T51" fmla="*/ 52442233 h 469"/>
              <a:gd name="T52" fmla="*/ 123700087 w 746"/>
              <a:gd name="T53" fmla="*/ 63311206 h 469"/>
              <a:gd name="T54" fmla="*/ 133595815 w 746"/>
              <a:gd name="T55" fmla="*/ 75810186 h 469"/>
              <a:gd name="T56" fmla="*/ 141018047 w 746"/>
              <a:gd name="T57" fmla="*/ 85592313 h 469"/>
              <a:gd name="T58" fmla="*/ 135308939 w 746"/>
              <a:gd name="T59" fmla="*/ 93743913 h 469"/>
              <a:gd name="T60" fmla="*/ 131502723 w 746"/>
              <a:gd name="T61" fmla="*/ 92928649 h 469"/>
              <a:gd name="T62" fmla="*/ 129218992 w 746"/>
              <a:gd name="T63" fmla="*/ 87222321 h 469"/>
              <a:gd name="T64" fmla="*/ 123890289 w 746"/>
              <a:gd name="T65" fmla="*/ 89668113 h 469"/>
              <a:gd name="T66" fmla="*/ 121606559 w 746"/>
              <a:gd name="T67" fmla="*/ 95646022 h 469"/>
              <a:gd name="T68" fmla="*/ 114946006 w 746"/>
              <a:gd name="T69" fmla="*/ 96732867 h 469"/>
              <a:gd name="T70" fmla="*/ 105240044 w 746"/>
              <a:gd name="T71" fmla="*/ 96732867 h 469"/>
              <a:gd name="T72" fmla="*/ 99340735 w 746"/>
              <a:gd name="T73" fmla="*/ 99178138 h 469"/>
              <a:gd name="T74" fmla="*/ 94392435 w 746"/>
              <a:gd name="T75" fmla="*/ 105156047 h 469"/>
              <a:gd name="T76" fmla="*/ 92489544 w 746"/>
              <a:gd name="T77" fmla="*/ 107058157 h 469"/>
              <a:gd name="T78" fmla="*/ 81070894 w 746"/>
              <a:gd name="T79" fmla="*/ 108688164 h 469"/>
              <a:gd name="T80" fmla="*/ 75361786 w 746"/>
              <a:gd name="T81" fmla="*/ 106514474 h 469"/>
              <a:gd name="T82" fmla="*/ 66417504 w 746"/>
              <a:gd name="T83" fmla="*/ 96189184 h 469"/>
              <a:gd name="T84" fmla="*/ 60707960 w 746"/>
              <a:gd name="T85" fmla="*/ 93743913 h 469"/>
              <a:gd name="T86" fmla="*/ 55379693 w 746"/>
              <a:gd name="T87" fmla="*/ 96460765 h 469"/>
              <a:gd name="T88" fmla="*/ 50622031 w 746"/>
              <a:gd name="T89" fmla="*/ 102438674 h 469"/>
              <a:gd name="T90" fmla="*/ 43199799 w 746"/>
              <a:gd name="T91" fmla="*/ 118741872 h 469"/>
              <a:gd name="T92" fmla="*/ 28545973 w 746"/>
              <a:gd name="T93" fmla="*/ 119285556 h 469"/>
              <a:gd name="T94" fmla="*/ 25691637 w 746"/>
              <a:gd name="T95" fmla="*/ 12173082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596857" y="6056157"/>
            <a:ext cx="500062" cy="552450"/>
          </a:xfrm>
          <a:custGeom>
            <a:avLst/>
            <a:gdLst>
              <a:gd name="T0" fmla="*/ 172045348 w 1145"/>
              <a:gd name="T1" fmla="*/ 15689475 h 1053"/>
              <a:gd name="T2" fmla="*/ 189402522 w 1145"/>
              <a:gd name="T3" fmla="*/ 18166319 h 1053"/>
              <a:gd name="T4" fmla="*/ 205996719 w 1145"/>
              <a:gd name="T5" fmla="*/ 22295266 h 1053"/>
              <a:gd name="T6" fmla="*/ 214770733 w 1145"/>
              <a:gd name="T7" fmla="*/ 48169128 h 1053"/>
              <a:gd name="T8" fmla="*/ 216105833 w 1145"/>
              <a:gd name="T9" fmla="*/ 58078077 h 1053"/>
              <a:gd name="T10" fmla="*/ 201800566 w 1145"/>
              <a:gd name="T11" fmla="*/ 74868255 h 1053"/>
              <a:gd name="T12" fmla="*/ 199320783 w 1145"/>
              <a:gd name="T13" fmla="*/ 99090538 h 1053"/>
              <a:gd name="T14" fmla="*/ 191310182 w 1145"/>
              <a:gd name="T15" fmla="*/ 121110366 h 1053"/>
              <a:gd name="T16" fmla="*/ 188830399 w 1145"/>
              <a:gd name="T17" fmla="*/ 131019315 h 1053"/>
              <a:gd name="T18" fmla="*/ 194361652 w 1145"/>
              <a:gd name="T19" fmla="*/ 158544756 h 1053"/>
              <a:gd name="T20" fmla="*/ 195696752 w 1145"/>
              <a:gd name="T21" fmla="*/ 182767039 h 1053"/>
              <a:gd name="T22" fmla="*/ 199702489 w 1145"/>
              <a:gd name="T23" fmla="*/ 201208796 h 1053"/>
              <a:gd name="T24" fmla="*/ 205805866 w 1145"/>
              <a:gd name="T25" fmla="*/ 210567393 h 1053"/>
              <a:gd name="T26" fmla="*/ 208285650 w 1145"/>
              <a:gd name="T27" fmla="*/ 227082133 h 1053"/>
              <a:gd name="T28" fmla="*/ 198367389 w 1145"/>
              <a:gd name="T29" fmla="*/ 232311783 h 1053"/>
              <a:gd name="T30" fmla="*/ 190165499 w 1145"/>
              <a:gd name="T31" fmla="*/ 235614941 h 1053"/>
              <a:gd name="T32" fmla="*/ 183108292 w 1145"/>
              <a:gd name="T33" fmla="*/ 273049331 h 1053"/>
              <a:gd name="T34" fmla="*/ 177386185 w 1145"/>
              <a:gd name="T35" fmla="*/ 282407928 h 1053"/>
              <a:gd name="T36" fmla="*/ 172045348 w 1145"/>
              <a:gd name="T37" fmla="*/ 283784069 h 1053"/>
              <a:gd name="T38" fmla="*/ 160219865 w 1145"/>
              <a:gd name="T39" fmla="*/ 289839509 h 1053"/>
              <a:gd name="T40" fmla="*/ 149156921 w 1145"/>
              <a:gd name="T41" fmla="*/ 285435648 h 1053"/>
              <a:gd name="T42" fmla="*/ 141718008 w 1145"/>
              <a:gd name="T43" fmla="*/ 279104770 h 1053"/>
              <a:gd name="T44" fmla="*/ 134851654 w 1145"/>
              <a:gd name="T45" fmla="*/ 274425472 h 1053"/>
              <a:gd name="T46" fmla="*/ 128557424 w 1145"/>
              <a:gd name="T47" fmla="*/ 271397752 h 1053"/>
              <a:gd name="T48" fmla="*/ 115968527 w 1145"/>
              <a:gd name="T49" fmla="*/ 271673190 h 1053"/>
              <a:gd name="T50" fmla="*/ 113298327 w 1145"/>
              <a:gd name="T51" fmla="*/ 259286873 h 1053"/>
              <a:gd name="T52" fmla="*/ 109674297 w 1145"/>
              <a:gd name="T53" fmla="*/ 243321959 h 1053"/>
              <a:gd name="T54" fmla="*/ 112535350 w 1145"/>
              <a:gd name="T55" fmla="*/ 232862659 h 1053"/>
              <a:gd name="T56" fmla="*/ 112535350 w 1145"/>
              <a:gd name="T57" fmla="*/ 214420902 h 1053"/>
              <a:gd name="T58" fmla="*/ 86595016 w 1145"/>
              <a:gd name="T59" fmla="*/ 207814587 h 1053"/>
              <a:gd name="T60" fmla="*/ 84496939 w 1145"/>
              <a:gd name="T61" fmla="*/ 216071957 h 1053"/>
              <a:gd name="T62" fmla="*/ 75532072 w 1145"/>
              <a:gd name="T63" fmla="*/ 224880203 h 1053"/>
              <a:gd name="T64" fmla="*/ 64278712 w 1145"/>
              <a:gd name="T65" fmla="*/ 219375114 h 1053"/>
              <a:gd name="T66" fmla="*/ 56648945 w 1145"/>
              <a:gd name="T67" fmla="*/ 194877918 h 1053"/>
              <a:gd name="T68" fmla="*/ 572123 w 1145"/>
              <a:gd name="T69" fmla="*/ 184693531 h 1053"/>
              <a:gd name="T70" fmla="*/ 8583160 w 1145"/>
              <a:gd name="T71" fmla="*/ 183592304 h 1053"/>
              <a:gd name="T72" fmla="*/ 4959130 w 1145"/>
              <a:gd name="T73" fmla="*/ 173683355 h 1053"/>
              <a:gd name="T74" fmla="*/ 14305267 w 1145"/>
              <a:gd name="T75" fmla="*/ 169279494 h 1053"/>
              <a:gd name="T76" fmla="*/ 27657141 w 1145"/>
              <a:gd name="T77" fmla="*/ 169004056 h 1053"/>
              <a:gd name="T78" fmla="*/ 34905201 w 1145"/>
              <a:gd name="T79" fmla="*/ 170655635 h 1053"/>
              <a:gd name="T80" fmla="*/ 41962408 w 1145"/>
              <a:gd name="T81" fmla="*/ 157994404 h 1053"/>
              <a:gd name="T82" fmla="*/ 49591738 w 1145"/>
              <a:gd name="T83" fmla="*/ 152764229 h 1053"/>
              <a:gd name="T84" fmla="*/ 53597475 w 1145"/>
              <a:gd name="T85" fmla="*/ 121110366 h 1053"/>
              <a:gd name="T86" fmla="*/ 65995082 w 1145"/>
              <a:gd name="T87" fmla="*/ 101842820 h 1053"/>
              <a:gd name="T88" fmla="*/ 70572942 w 1145"/>
              <a:gd name="T89" fmla="*/ 75969482 h 1053"/>
              <a:gd name="T90" fmla="*/ 70954649 w 1145"/>
              <a:gd name="T91" fmla="*/ 49545269 h 1053"/>
              <a:gd name="T92" fmla="*/ 73052726 w 1145"/>
              <a:gd name="T93" fmla="*/ 33580880 h 1053"/>
              <a:gd name="T94" fmla="*/ 83924816 w 1145"/>
              <a:gd name="T95" fmla="*/ 9634035 h 1053"/>
              <a:gd name="T96" fmla="*/ 93652223 w 1145"/>
              <a:gd name="T97" fmla="*/ 8257370 h 1053"/>
              <a:gd name="T98" fmla="*/ 106431536 w 1145"/>
              <a:gd name="T99" fmla="*/ 21194563 h 1053"/>
              <a:gd name="T100" fmla="*/ 121499780 w 1145"/>
              <a:gd name="T101" fmla="*/ 20093336 h 1053"/>
              <a:gd name="T102" fmla="*/ 127794447 w 1145"/>
              <a:gd name="T103" fmla="*/ 12110879 h 1053"/>
              <a:gd name="T104" fmla="*/ 140001638 w 1145"/>
              <a:gd name="T105" fmla="*/ 9358597 h 1053"/>
              <a:gd name="T106" fmla="*/ 151636705 w 1145"/>
              <a:gd name="T107" fmla="*/ 4679299 h 1053"/>
              <a:gd name="T108" fmla="*/ 157930935 w 1145"/>
              <a:gd name="T109" fmla="*/ 2201930 h 1053"/>
              <a:gd name="T110" fmla="*/ 163843895 w 1145"/>
              <a:gd name="T111" fmla="*/ 66057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533357" y="6156169"/>
            <a:ext cx="55562" cy="55563"/>
          </a:xfrm>
          <a:custGeom>
            <a:avLst/>
            <a:gdLst>
              <a:gd name="T0" fmla="*/ 23709417 w 125"/>
              <a:gd name="T1" fmla="*/ 0 h 81"/>
              <a:gd name="T2" fmla="*/ 23906773 w 125"/>
              <a:gd name="T3" fmla="*/ 12704720 h 81"/>
              <a:gd name="T4" fmla="*/ 24499731 w 125"/>
              <a:gd name="T5" fmla="*/ 21644875 h 81"/>
              <a:gd name="T6" fmla="*/ 24697087 w 125"/>
              <a:gd name="T7" fmla="*/ 24938869 h 81"/>
              <a:gd name="T8" fmla="*/ 24697087 w 125"/>
              <a:gd name="T9" fmla="*/ 27762293 h 81"/>
              <a:gd name="T10" fmla="*/ 24697087 w 125"/>
              <a:gd name="T11" fmla="*/ 30585717 h 81"/>
              <a:gd name="T12" fmla="*/ 24301930 w 125"/>
              <a:gd name="T13" fmla="*/ 32467313 h 81"/>
              <a:gd name="T14" fmla="*/ 23511616 w 125"/>
              <a:gd name="T15" fmla="*/ 33879025 h 81"/>
              <a:gd name="T16" fmla="*/ 22128789 w 125"/>
              <a:gd name="T17" fmla="*/ 34820166 h 81"/>
              <a:gd name="T18" fmla="*/ 20350360 w 125"/>
              <a:gd name="T19" fmla="*/ 35761307 h 81"/>
              <a:gd name="T20" fmla="*/ 17979419 w 125"/>
              <a:gd name="T21" fmla="*/ 36231878 h 81"/>
              <a:gd name="T22" fmla="*/ 11261751 w 125"/>
              <a:gd name="T23" fmla="*/ 37173019 h 81"/>
              <a:gd name="T24" fmla="*/ 1382827 w 125"/>
              <a:gd name="T25" fmla="*/ 38114160 h 81"/>
              <a:gd name="T26" fmla="*/ 987670 w 125"/>
              <a:gd name="T27" fmla="*/ 37173019 h 81"/>
              <a:gd name="T28" fmla="*/ 592513 w 125"/>
              <a:gd name="T29" fmla="*/ 33879025 h 81"/>
              <a:gd name="T30" fmla="*/ 197356 w 125"/>
              <a:gd name="T31" fmla="*/ 27762293 h 81"/>
              <a:gd name="T32" fmla="*/ 0 w 125"/>
              <a:gd name="T33" fmla="*/ 20233164 h 81"/>
              <a:gd name="T34" fmla="*/ 0 w 125"/>
              <a:gd name="T35" fmla="*/ 17410426 h 81"/>
              <a:gd name="T36" fmla="*/ 197356 w 125"/>
              <a:gd name="T37" fmla="*/ 14587002 h 81"/>
              <a:gd name="T38" fmla="*/ 395157 w 125"/>
              <a:gd name="T39" fmla="*/ 11763579 h 81"/>
              <a:gd name="T40" fmla="*/ 790314 w 125"/>
              <a:gd name="T41" fmla="*/ 9410726 h 81"/>
              <a:gd name="T42" fmla="*/ 1580628 w 125"/>
              <a:gd name="T43" fmla="*/ 7057873 h 81"/>
              <a:gd name="T44" fmla="*/ 2173141 w 125"/>
              <a:gd name="T45" fmla="*/ 4705706 h 81"/>
              <a:gd name="T46" fmla="*/ 2766099 w 125"/>
              <a:gd name="T47" fmla="*/ 2352853 h 81"/>
              <a:gd name="T48" fmla="*/ 3951569 w 125"/>
              <a:gd name="T49" fmla="*/ 0 h 81"/>
              <a:gd name="T50" fmla="*/ 2370941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515894" y="6156169"/>
            <a:ext cx="152400" cy="201613"/>
          </a:xfrm>
          <a:custGeom>
            <a:avLst/>
            <a:gdLst>
              <a:gd name="T0" fmla="*/ 48285042 w 355"/>
              <a:gd name="T1" fmla="*/ 4049927 h 388"/>
              <a:gd name="T2" fmla="*/ 47363774 w 355"/>
              <a:gd name="T3" fmla="*/ 9990236 h 388"/>
              <a:gd name="T4" fmla="*/ 48653807 w 355"/>
              <a:gd name="T5" fmla="*/ 13770480 h 388"/>
              <a:gd name="T6" fmla="*/ 52155573 w 355"/>
              <a:gd name="T7" fmla="*/ 16200228 h 388"/>
              <a:gd name="T8" fmla="*/ 58789910 w 355"/>
              <a:gd name="T9" fmla="*/ 14850252 h 388"/>
              <a:gd name="T10" fmla="*/ 61185810 w 355"/>
              <a:gd name="T11" fmla="*/ 15390139 h 388"/>
              <a:gd name="T12" fmla="*/ 62660441 w 355"/>
              <a:gd name="T13" fmla="*/ 18360293 h 388"/>
              <a:gd name="T14" fmla="*/ 63581709 w 355"/>
              <a:gd name="T15" fmla="*/ 22410740 h 388"/>
              <a:gd name="T16" fmla="*/ 64687575 w 355"/>
              <a:gd name="T17" fmla="*/ 25380375 h 388"/>
              <a:gd name="T18" fmla="*/ 63581709 w 355"/>
              <a:gd name="T19" fmla="*/ 29160618 h 388"/>
              <a:gd name="T20" fmla="*/ 58974507 w 355"/>
              <a:gd name="T21" fmla="*/ 36720586 h 388"/>
              <a:gd name="T22" fmla="*/ 64134642 w 355"/>
              <a:gd name="T23" fmla="*/ 47251228 h 388"/>
              <a:gd name="T24" fmla="*/ 65424676 w 355"/>
              <a:gd name="T25" fmla="*/ 54540993 h 388"/>
              <a:gd name="T26" fmla="*/ 65055911 w 355"/>
              <a:gd name="T27" fmla="*/ 59131326 h 388"/>
              <a:gd name="T28" fmla="*/ 63581709 w 355"/>
              <a:gd name="T29" fmla="*/ 68581676 h 388"/>
              <a:gd name="T30" fmla="*/ 61369977 w 355"/>
              <a:gd name="T31" fmla="*/ 73171489 h 388"/>
              <a:gd name="T32" fmla="*/ 57499876 w 355"/>
              <a:gd name="T33" fmla="*/ 75601757 h 388"/>
              <a:gd name="T34" fmla="*/ 52708506 w 355"/>
              <a:gd name="T35" fmla="*/ 76141644 h 388"/>
              <a:gd name="T36" fmla="*/ 49759673 w 355"/>
              <a:gd name="T37" fmla="*/ 76141644 h 388"/>
              <a:gd name="T38" fmla="*/ 46442505 w 355"/>
              <a:gd name="T39" fmla="*/ 71551830 h 388"/>
              <a:gd name="T40" fmla="*/ 44230773 w 355"/>
              <a:gd name="T41" fmla="*/ 69931651 h 388"/>
              <a:gd name="T42" fmla="*/ 40729007 w 355"/>
              <a:gd name="T43" fmla="*/ 72631603 h 388"/>
              <a:gd name="T44" fmla="*/ 37780604 w 355"/>
              <a:gd name="T45" fmla="*/ 75331554 h 388"/>
              <a:gd name="T46" fmla="*/ 35753040 w 355"/>
              <a:gd name="T47" fmla="*/ 76951733 h 388"/>
              <a:gd name="T48" fmla="*/ 34094670 w 355"/>
              <a:gd name="T49" fmla="*/ 80461774 h 388"/>
              <a:gd name="T50" fmla="*/ 34463006 w 355"/>
              <a:gd name="T51" fmla="*/ 86671766 h 388"/>
              <a:gd name="T52" fmla="*/ 38148940 w 355"/>
              <a:gd name="T53" fmla="*/ 96662002 h 388"/>
              <a:gd name="T54" fmla="*/ 35937637 w 355"/>
              <a:gd name="T55" fmla="*/ 95312026 h 388"/>
              <a:gd name="T56" fmla="*/ 32620039 w 355"/>
              <a:gd name="T57" fmla="*/ 95852432 h 388"/>
              <a:gd name="T58" fmla="*/ 29855804 w 355"/>
              <a:gd name="T59" fmla="*/ 98552384 h 388"/>
              <a:gd name="T60" fmla="*/ 26906971 w 355"/>
              <a:gd name="T61" fmla="*/ 104762376 h 388"/>
              <a:gd name="T62" fmla="*/ 22668105 w 355"/>
              <a:gd name="T63" fmla="*/ 99902359 h 388"/>
              <a:gd name="T64" fmla="*/ 20825138 w 355"/>
              <a:gd name="T65" fmla="*/ 96662002 h 388"/>
              <a:gd name="T66" fmla="*/ 17692137 w 355"/>
              <a:gd name="T67" fmla="*/ 87481855 h 388"/>
              <a:gd name="T68" fmla="*/ 9214834 w 355"/>
              <a:gd name="T69" fmla="*/ 75601757 h 388"/>
              <a:gd name="T70" fmla="*/ 4054699 w 355"/>
              <a:gd name="T71" fmla="*/ 68581676 h 388"/>
              <a:gd name="T72" fmla="*/ 921269 w 355"/>
              <a:gd name="T73" fmla="*/ 60211619 h 388"/>
              <a:gd name="T74" fmla="*/ 184168 w 355"/>
              <a:gd name="T75" fmla="*/ 50491066 h 388"/>
              <a:gd name="T76" fmla="*/ 2027135 w 355"/>
              <a:gd name="T77" fmla="*/ 43741187 h 388"/>
              <a:gd name="T78" fmla="*/ 7556035 w 355"/>
              <a:gd name="T79" fmla="*/ 36180700 h 388"/>
              <a:gd name="T80" fmla="*/ 9951935 w 355"/>
              <a:gd name="T81" fmla="*/ 31320683 h 388"/>
              <a:gd name="T82" fmla="*/ 10320700 w 355"/>
              <a:gd name="T83" fmla="*/ 24570805 h 388"/>
              <a:gd name="T84" fmla="*/ 19903869 w 355"/>
              <a:gd name="T85" fmla="*/ 22410740 h 388"/>
              <a:gd name="T86" fmla="*/ 28749938 w 355"/>
              <a:gd name="T87" fmla="*/ 21600651 h 388"/>
              <a:gd name="T88" fmla="*/ 31698771 w 355"/>
              <a:gd name="T89" fmla="*/ 19710269 h 388"/>
              <a:gd name="T90" fmla="*/ 32620039 w 355"/>
              <a:gd name="T91" fmla="*/ 17010317 h 388"/>
              <a:gd name="T92" fmla="*/ 32067106 w 355"/>
              <a:gd name="T93" fmla="*/ 11070009 h 388"/>
              <a:gd name="T94" fmla="*/ 30777073 w 355"/>
              <a:gd name="T95" fmla="*/ 3239838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049294" y="6560982"/>
            <a:ext cx="260350" cy="520700"/>
          </a:xfrm>
          <a:custGeom>
            <a:avLst/>
            <a:gdLst>
              <a:gd name="T0" fmla="*/ 0 w 599"/>
              <a:gd name="T1" fmla="*/ 71215819 h 993"/>
              <a:gd name="T2" fmla="*/ 34382282 w 599"/>
              <a:gd name="T3" fmla="*/ 61592046 h 993"/>
              <a:gd name="T4" fmla="*/ 43449764 w 599"/>
              <a:gd name="T5" fmla="*/ 65991515 h 993"/>
              <a:gd name="T6" fmla="*/ 48739345 w 599"/>
              <a:gd name="T7" fmla="*/ 70941049 h 993"/>
              <a:gd name="T8" fmla="*/ 47606236 w 599"/>
              <a:gd name="T9" fmla="*/ 81389657 h 993"/>
              <a:gd name="T10" fmla="*/ 44205605 w 599"/>
              <a:gd name="T11" fmla="*/ 89913301 h 993"/>
              <a:gd name="T12" fmla="*/ 47228098 w 599"/>
              <a:gd name="T13" fmla="*/ 98162175 h 993"/>
              <a:gd name="T14" fmla="*/ 55540174 w 599"/>
              <a:gd name="T15" fmla="*/ 100361910 h 993"/>
              <a:gd name="T16" fmla="*/ 60263419 w 599"/>
              <a:gd name="T17" fmla="*/ 93487936 h 993"/>
              <a:gd name="T18" fmla="*/ 63852685 w 599"/>
              <a:gd name="T19" fmla="*/ 87163502 h 993"/>
              <a:gd name="T20" fmla="*/ 62719141 w 599"/>
              <a:gd name="T21" fmla="*/ 71765884 h 993"/>
              <a:gd name="T22" fmla="*/ 59318509 w 599"/>
              <a:gd name="T23" fmla="*/ 56092971 h 993"/>
              <a:gd name="T24" fmla="*/ 51195502 w 599"/>
              <a:gd name="T25" fmla="*/ 43169334 h 993"/>
              <a:gd name="T26" fmla="*/ 47983939 w 599"/>
              <a:gd name="T27" fmla="*/ 34370395 h 993"/>
              <a:gd name="T28" fmla="*/ 51006433 w 599"/>
              <a:gd name="T29" fmla="*/ 17047812 h 993"/>
              <a:gd name="T30" fmla="*/ 60452053 w 599"/>
              <a:gd name="T31" fmla="*/ 15122848 h 993"/>
              <a:gd name="T32" fmla="*/ 78965589 w 599"/>
              <a:gd name="T33" fmla="*/ 16497748 h 993"/>
              <a:gd name="T34" fmla="*/ 98423601 w 599"/>
              <a:gd name="T35" fmla="*/ 9898544 h 993"/>
              <a:gd name="T36" fmla="*/ 112781099 w 599"/>
              <a:gd name="T37" fmla="*/ 824835 h 993"/>
              <a:gd name="T38" fmla="*/ 112781099 w 599"/>
              <a:gd name="T39" fmla="*/ 8248874 h 993"/>
              <a:gd name="T40" fmla="*/ 112781099 w 599"/>
              <a:gd name="T41" fmla="*/ 34645690 h 993"/>
              <a:gd name="T42" fmla="*/ 111836624 w 599"/>
              <a:gd name="T43" fmla="*/ 62691651 h 993"/>
              <a:gd name="T44" fmla="*/ 110514011 w 599"/>
              <a:gd name="T45" fmla="*/ 75890059 h 993"/>
              <a:gd name="T46" fmla="*/ 103902251 w 599"/>
              <a:gd name="T47" fmla="*/ 92663101 h 993"/>
              <a:gd name="T48" fmla="*/ 88411209 w 599"/>
              <a:gd name="T49" fmla="*/ 110535748 h 993"/>
              <a:gd name="T50" fmla="*/ 70653514 w 599"/>
              <a:gd name="T51" fmla="*/ 117134952 h 993"/>
              <a:gd name="T52" fmla="*/ 66686110 w 599"/>
              <a:gd name="T53" fmla="*/ 127583561 h 993"/>
              <a:gd name="T54" fmla="*/ 55351540 w 599"/>
              <a:gd name="T55" fmla="*/ 139407069 h 993"/>
              <a:gd name="T56" fmla="*/ 45905920 w 599"/>
              <a:gd name="T57" fmla="*/ 150955282 h 993"/>
              <a:gd name="T58" fmla="*/ 43261129 w 599"/>
              <a:gd name="T59" fmla="*/ 160029515 h 993"/>
              <a:gd name="T60" fmla="*/ 44772376 w 599"/>
              <a:gd name="T61" fmla="*/ 170202829 h 993"/>
              <a:gd name="T62" fmla="*/ 50439661 w 599"/>
              <a:gd name="T63" fmla="*/ 179826603 h 993"/>
              <a:gd name="T64" fmla="*/ 47983939 w 599"/>
              <a:gd name="T65" fmla="*/ 190825276 h 993"/>
              <a:gd name="T66" fmla="*/ 50061958 w 599"/>
              <a:gd name="T67" fmla="*/ 200449050 h 993"/>
              <a:gd name="T68" fmla="*/ 50439661 w 599"/>
              <a:gd name="T69" fmla="*/ 217222092 h 993"/>
              <a:gd name="T70" fmla="*/ 48361642 w 599"/>
              <a:gd name="T71" fmla="*/ 223821296 h 993"/>
              <a:gd name="T72" fmla="*/ 36460301 w 599"/>
              <a:gd name="T73" fmla="*/ 240044273 h 993"/>
              <a:gd name="T74" fmla="*/ 27770087 w 599"/>
              <a:gd name="T75" fmla="*/ 243893678 h 993"/>
              <a:gd name="T76" fmla="*/ 19268942 w 599"/>
              <a:gd name="T77" fmla="*/ 245818118 h 993"/>
              <a:gd name="T78" fmla="*/ 16435517 w 599"/>
              <a:gd name="T79" fmla="*/ 251042422 h 993"/>
              <a:gd name="T80" fmla="*/ 17946764 w 599"/>
              <a:gd name="T81" fmla="*/ 258191691 h 993"/>
              <a:gd name="T82" fmla="*/ 17190924 w 599"/>
              <a:gd name="T83" fmla="*/ 272764998 h 993"/>
              <a:gd name="T84" fmla="*/ 13979361 w 599"/>
              <a:gd name="T85" fmla="*/ 222721166 h 993"/>
              <a:gd name="T86" fmla="*/ 10956867 w 599"/>
              <a:gd name="T87" fmla="*/ 210348118 h 993"/>
              <a:gd name="T88" fmla="*/ 7745304 w 599"/>
              <a:gd name="T89" fmla="*/ 197974545 h 993"/>
              <a:gd name="T90" fmla="*/ 20402486 w 599"/>
              <a:gd name="T91" fmla="*/ 183126467 h 993"/>
              <a:gd name="T92" fmla="*/ 20591555 w 599"/>
              <a:gd name="T93" fmla="*/ 168828454 h 993"/>
              <a:gd name="T94" fmla="*/ 28148225 w 599"/>
              <a:gd name="T95" fmla="*/ 157004946 h 993"/>
              <a:gd name="T96" fmla="*/ 32871035 w 599"/>
              <a:gd name="T97" fmla="*/ 144631373 h 993"/>
              <a:gd name="T98" fmla="*/ 31737491 w 599"/>
              <a:gd name="T99" fmla="*/ 121259127 h 993"/>
              <a:gd name="T100" fmla="*/ 28714562 w 599"/>
              <a:gd name="T101" fmla="*/ 100087140 h 993"/>
              <a:gd name="T102" fmla="*/ 15301973 w 599"/>
              <a:gd name="T103" fmla="*/ 93762706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784182" y="6800694"/>
            <a:ext cx="238125" cy="287338"/>
          </a:xfrm>
          <a:custGeom>
            <a:avLst/>
            <a:gdLst>
              <a:gd name="T0" fmla="*/ 5727234 w 545"/>
              <a:gd name="T1" fmla="*/ 117242278 h 549"/>
              <a:gd name="T2" fmla="*/ 8781788 w 545"/>
              <a:gd name="T3" fmla="*/ 124364492 h 549"/>
              <a:gd name="T4" fmla="*/ 8781788 w 545"/>
              <a:gd name="T5" fmla="*/ 140252870 h 549"/>
              <a:gd name="T6" fmla="*/ 9163225 w 545"/>
              <a:gd name="T7" fmla="*/ 144361961 h 549"/>
              <a:gd name="T8" fmla="*/ 10499783 w 545"/>
              <a:gd name="T9" fmla="*/ 147100831 h 549"/>
              <a:gd name="T10" fmla="*/ 12981526 w 545"/>
              <a:gd name="T11" fmla="*/ 149292241 h 549"/>
              <a:gd name="T12" fmla="*/ 19090634 w 545"/>
              <a:gd name="T13" fmla="*/ 150388208 h 549"/>
              <a:gd name="T14" fmla="*/ 21572377 w 545"/>
              <a:gd name="T15" fmla="*/ 149566495 h 549"/>
              <a:gd name="T16" fmla="*/ 24817431 w 545"/>
              <a:gd name="T17" fmla="*/ 146005388 h 549"/>
              <a:gd name="T18" fmla="*/ 27299611 w 545"/>
              <a:gd name="T19" fmla="*/ 138883174 h 549"/>
              <a:gd name="T20" fmla="*/ 29399481 w 545"/>
              <a:gd name="T21" fmla="*/ 130664993 h 549"/>
              <a:gd name="T22" fmla="*/ 32263097 w 545"/>
              <a:gd name="T23" fmla="*/ 124364492 h 549"/>
              <a:gd name="T24" fmla="*/ 34935778 w 545"/>
              <a:gd name="T25" fmla="*/ 121899352 h 549"/>
              <a:gd name="T26" fmla="*/ 38371768 w 545"/>
              <a:gd name="T27" fmla="*/ 121625622 h 549"/>
              <a:gd name="T28" fmla="*/ 42381007 w 545"/>
              <a:gd name="T29" fmla="*/ 122721065 h 549"/>
              <a:gd name="T30" fmla="*/ 48108241 w 545"/>
              <a:gd name="T31" fmla="*/ 126282172 h 549"/>
              <a:gd name="T32" fmla="*/ 51926106 w 545"/>
              <a:gd name="T33" fmla="*/ 128199853 h 549"/>
              <a:gd name="T34" fmla="*/ 56698655 w 545"/>
              <a:gd name="T35" fmla="*/ 128473583 h 549"/>
              <a:gd name="T36" fmla="*/ 60898830 w 545"/>
              <a:gd name="T37" fmla="*/ 127103886 h 549"/>
              <a:gd name="T38" fmla="*/ 63380573 w 545"/>
              <a:gd name="T39" fmla="*/ 124090762 h 549"/>
              <a:gd name="T40" fmla="*/ 68534997 w 545"/>
              <a:gd name="T41" fmla="*/ 106285227 h 549"/>
              <a:gd name="T42" fmla="*/ 72925672 w 545"/>
              <a:gd name="T43" fmla="*/ 99437266 h 549"/>
              <a:gd name="T44" fmla="*/ 85334388 w 545"/>
              <a:gd name="T45" fmla="*/ 86014552 h 549"/>
              <a:gd name="T46" fmla="*/ 100606720 w 545"/>
              <a:gd name="T47" fmla="*/ 72317584 h 549"/>
              <a:gd name="T48" fmla="*/ 100797657 w 545"/>
              <a:gd name="T49" fmla="*/ 63551943 h 549"/>
              <a:gd name="T50" fmla="*/ 96025108 w 545"/>
              <a:gd name="T51" fmla="*/ 59717106 h 549"/>
              <a:gd name="T52" fmla="*/ 92588680 w 545"/>
              <a:gd name="T53" fmla="*/ 54512049 h 549"/>
              <a:gd name="T54" fmla="*/ 87816131 w 545"/>
              <a:gd name="T55" fmla="*/ 43007014 h 549"/>
              <a:gd name="T56" fmla="*/ 83998266 w 545"/>
              <a:gd name="T57" fmla="*/ 36159054 h 549"/>
              <a:gd name="T58" fmla="*/ 71970987 w 545"/>
              <a:gd name="T59" fmla="*/ 20818659 h 549"/>
              <a:gd name="T60" fmla="*/ 68534997 w 545"/>
              <a:gd name="T61" fmla="*/ 14518158 h 549"/>
              <a:gd name="T62" fmla="*/ 66434690 w 545"/>
              <a:gd name="T63" fmla="*/ 6574231 h 549"/>
              <a:gd name="T64" fmla="*/ 60898830 w 545"/>
              <a:gd name="T65" fmla="*/ 0 h 549"/>
              <a:gd name="T66" fmla="*/ 46580745 w 545"/>
              <a:gd name="T67" fmla="*/ 547983 h 549"/>
              <a:gd name="T68" fmla="*/ 33599219 w 545"/>
              <a:gd name="T69" fmla="*/ 3561107 h 549"/>
              <a:gd name="T70" fmla="*/ 18135950 w 545"/>
              <a:gd name="T71" fmla="*/ 6026247 h 549"/>
              <a:gd name="T72" fmla="*/ 13554337 w 545"/>
              <a:gd name="T73" fmla="*/ 7395944 h 549"/>
              <a:gd name="T74" fmla="*/ 12790589 w 545"/>
              <a:gd name="T75" fmla="*/ 10409591 h 549"/>
              <a:gd name="T76" fmla="*/ 13936211 w 545"/>
              <a:gd name="T77" fmla="*/ 15340395 h 549"/>
              <a:gd name="T78" fmla="*/ 16036080 w 545"/>
              <a:gd name="T79" fmla="*/ 20270675 h 549"/>
              <a:gd name="T80" fmla="*/ 16417954 w 545"/>
              <a:gd name="T81" fmla="*/ 29310570 h 549"/>
              <a:gd name="T82" fmla="*/ 14127148 w 545"/>
              <a:gd name="T83" fmla="*/ 46842375 h 549"/>
              <a:gd name="T84" fmla="*/ 11835905 w 545"/>
              <a:gd name="T85" fmla="*/ 64921640 h 549"/>
              <a:gd name="T86" fmla="*/ 8972725 w 545"/>
              <a:gd name="T87" fmla="*/ 72043854 h 549"/>
              <a:gd name="T88" fmla="*/ 4963486 w 545"/>
              <a:gd name="T89" fmla="*/ 75878691 h 549"/>
              <a:gd name="T90" fmla="*/ 954685 w 545"/>
              <a:gd name="T91" fmla="*/ 84096872 h 549"/>
              <a:gd name="T92" fmla="*/ 190937 w 545"/>
              <a:gd name="T93" fmla="*/ 92862512 h 549"/>
              <a:gd name="T94" fmla="*/ 1527058 w 545"/>
              <a:gd name="T95" fmla="*/ 100532710 h 549"/>
              <a:gd name="T96" fmla="*/ 1527058 w 545"/>
              <a:gd name="T97" fmla="*/ 107106940 h 549"/>
              <a:gd name="T98" fmla="*/ 0 w 545"/>
              <a:gd name="T99" fmla="*/ 111764014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357269" y="6602257"/>
            <a:ext cx="196850" cy="434975"/>
          </a:xfrm>
          <a:custGeom>
            <a:avLst/>
            <a:gdLst>
              <a:gd name="T0" fmla="*/ 21242815 w 452"/>
              <a:gd name="T1" fmla="*/ 71337991 h 832"/>
              <a:gd name="T2" fmla="*/ 26174082 w 452"/>
              <a:gd name="T3" fmla="*/ 67784998 h 832"/>
              <a:gd name="T4" fmla="*/ 31295230 w 452"/>
              <a:gd name="T5" fmla="*/ 65598622 h 832"/>
              <a:gd name="T6" fmla="*/ 36416379 w 452"/>
              <a:gd name="T7" fmla="*/ 63411722 h 832"/>
              <a:gd name="T8" fmla="*/ 40778436 w 452"/>
              <a:gd name="T9" fmla="*/ 59311874 h 832"/>
              <a:gd name="T10" fmla="*/ 44002943 w 452"/>
              <a:gd name="T11" fmla="*/ 54665169 h 832"/>
              <a:gd name="T12" fmla="*/ 44002943 w 452"/>
              <a:gd name="T13" fmla="*/ 48925277 h 832"/>
              <a:gd name="T14" fmla="*/ 50262076 w 452"/>
              <a:gd name="T15" fmla="*/ 48652372 h 832"/>
              <a:gd name="T16" fmla="*/ 53486148 w 452"/>
              <a:gd name="T17" fmla="*/ 47285756 h 832"/>
              <a:gd name="T18" fmla="*/ 56521210 w 452"/>
              <a:gd name="T19" fmla="*/ 44279096 h 832"/>
              <a:gd name="T20" fmla="*/ 60693820 w 452"/>
              <a:gd name="T21" fmla="*/ 36352304 h 832"/>
              <a:gd name="T22" fmla="*/ 66383743 w 452"/>
              <a:gd name="T23" fmla="*/ 20499242 h 832"/>
              <a:gd name="T24" fmla="*/ 71694338 w 452"/>
              <a:gd name="T25" fmla="*/ 0 h 832"/>
              <a:gd name="T26" fmla="*/ 73022204 w 452"/>
              <a:gd name="T27" fmla="*/ 5193037 h 832"/>
              <a:gd name="T28" fmla="*/ 77194815 w 452"/>
              <a:gd name="T29" fmla="*/ 12846401 h 832"/>
              <a:gd name="T30" fmla="*/ 84971261 w 452"/>
              <a:gd name="T31" fmla="*/ 23232998 h 832"/>
              <a:gd name="T32" fmla="*/ 83453948 w 452"/>
              <a:gd name="T33" fmla="*/ 28152607 h 832"/>
              <a:gd name="T34" fmla="*/ 84212604 w 452"/>
              <a:gd name="T35" fmla="*/ 37718920 h 832"/>
              <a:gd name="T36" fmla="*/ 85729917 w 452"/>
              <a:gd name="T37" fmla="*/ 50565321 h 832"/>
              <a:gd name="T38" fmla="*/ 84971261 w 452"/>
              <a:gd name="T39" fmla="*/ 56305213 h 832"/>
              <a:gd name="T40" fmla="*/ 81177979 w 452"/>
              <a:gd name="T41" fmla="*/ 63958578 h 832"/>
              <a:gd name="T42" fmla="*/ 77574143 w 452"/>
              <a:gd name="T43" fmla="*/ 71337991 h 832"/>
              <a:gd name="T44" fmla="*/ 76815486 w 452"/>
              <a:gd name="T45" fmla="*/ 77351311 h 832"/>
              <a:gd name="T46" fmla="*/ 74539517 w 452"/>
              <a:gd name="T47" fmla="*/ 84184392 h 832"/>
              <a:gd name="T48" fmla="*/ 72642876 w 452"/>
              <a:gd name="T49" fmla="*/ 86917625 h 832"/>
              <a:gd name="T50" fmla="*/ 71504891 w 452"/>
              <a:gd name="T51" fmla="*/ 90744568 h 832"/>
              <a:gd name="T52" fmla="*/ 69797697 w 452"/>
              <a:gd name="T53" fmla="*/ 99491121 h 832"/>
              <a:gd name="T54" fmla="*/ 64107774 w 452"/>
              <a:gd name="T55" fmla="*/ 116710275 h 832"/>
              <a:gd name="T56" fmla="*/ 60883266 w 452"/>
              <a:gd name="T57" fmla="*/ 128463488 h 832"/>
              <a:gd name="T58" fmla="*/ 60314492 w 452"/>
              <a:gd name="T59" fmla="*/ 136663185 h 832"/>
              <a:gd name="T60" fmla="*/ 58797179 w 452"/>
              <a:gd name="T61" fmla="*/ 145136310 h 832"/>
              <a:gd name="T62" fmla="*/ 53296702 w 452"/>
              <a:gd name="T63" fmla="*/ 164542887 h 832"/>
              <a:gd name="T64" fmla="*/ 49313538 w 452"/>
              <a:gd name="T65" fmla="*/ 174109200 h 832"/>
              <a:gd name="T66" fmla="*/ 45899584 w 452"/>
              <a:gd name="T67" fmla="*/ 179028809 h 832"/>
              <a:gd name="T68" fmla="*/ 44002943 w 452"/>
              <a:gd name="T69" fmla="*/ 180395425 h 832"/>
              <a:gd name="T70" fmla="*/ 43244287 w 452"/>
              <a:gd name="T71" fmla="*/ 195155298 h 832"/>
              <a:gd name="T72" fmla="*/ 40778436 w 452"/>
              <a:gd name="T73" fmla="*/ 207454843 h 832"/>
              <a:gd name="T74" fmla="*/ 36226497 w 452"/>
              <a:gd name="T75" fmla="*/ 217294584 h 832"/>
              <a:gd name="T76" fmla="*/ 29777918 w 452"/>
              <a:gd name="T77" fmla="*/ 223854760 h 832"/>
              <a:gd name="T78" fmla="*/ 20863487 w 452"/>
              <a:gd name="T79" fmla="*/ 227134325 h 832"/>
              <a:gd name="T80" fmla="*/ 15173564 w 452"/>
              <a:gd name="T81" fmla="*/ 226041137 h 832"/>
              <a:gd name="T82" fmla="*/ 13845697 w 452"/>
              <a:gd name="T83" fmla="*/ 223307905 h 832"/>
              <a:gd name="T84" fmla="*/ 9483205 w 452"/>
              <a:gd name="T85" fmla="*/ 221394433 h 832"/>
              <a:gd name="T86" fmla="*/ 4931267 w 452"/>
              <a:gd name="T87" fmla="*/ 218114868 h 832"/>
              <a:gd name="T88" fmla="*/ 2275969 w 452"/>
              <a:gd name="T89" fmla="*/ 212374975 h 832"/>
              <a:gd name="T90" fmla="*/ 569210 w 452"/>
              <a:gd name="T91" fmla="*/ 205541372 h 832"/>
              <a:gd name="T92" fmla="*/ 0 w 452"/>
              <a:gd name="T93" fmla="*/ 193515254 h 832"/>
              <a:gd name="T94" fmla="*/ 758656 w 452"/>
              <a:gd name="T95" fmla="*/ 189688833 h 832"/>
              <a:gd name="T96" fmla="*/ 3603836 w 452"/>
              <a:gd name="T97" fmla="*/ 185315557 h 832"/>
              <a:gd name="T98" fmla="*/ 2086523 w 452"/>
              <a:gd name="T99" fmla="*/ 183675513 h 832"/>
              <a:gd name="T100" fmla="*/ 0 w 452"/>
              <a:gd name="T101" fmla="*/ 178209048 h 832"/>
              <a:gd name="T102" fmla="*/ 948538 w 452"/>
              <a:gd name="T103" fmla="*/ 171648873 h 832"/>
              <a:gd name="T104" fmla="*/ 1517313 w 452"/>
              <a:gd name="T105" fmla="*/ 166729263 h 832"/>
              <a:gd name="T106" fmla="*/ 948538 w 452"/>
              <a:gd name="T107" fmla="*/ 161536227 h 832"/>
              <a:gd name="T108" fmla="*/ 3413954 w 452"/>
              <a:gd name="T109" fmla="*/ 160442515 h 832"/>
              <a:gd name="T110" fmla="*/ 8155774 w 452"/>
              <a:gd name="T111" fmla="*/ 155249479 h 832"/>
              <a:gd name="T112" fmla="*/ 11949056 w 452"/>
              <a:gd name="T113" fmla="*/ 147049782 h 832"/>
              <a:gd name="T114" fmla="*/ 14414907 w 452"/>
              <a:gd name="T115" fmla="*/ 138303229 h 832"/>
              <a:gd name="T116" fmla="*/ 16311548 w 452"/>
              <a:gd name="T117" fmla="*/ 126277111 h 832"/>
              <a:gd name="T118" fmla="*/ 15742338 w 452"/>
              <a:gd name="T119" fmla="*/ 119716935 h 832"/>
              <a:gd name="T120" fmla="*/ 13276923 w 452"/>
              <a:gd name="T121" fmla="*/ 111517238 h 832"/>
              <a:gd name="T122" fmla="*/ 10621190 w 452"/>
              <a:gd name="T123" fmla="*/ 104410730 h 832"/>
              <a:gd name="T124" fmla="*/ 10052415 w 452"/>
              <a:gd name="T125" fmla="*/ 99217693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033419" y="6300632"/>
            <a:ext cx="36513" cy="66675"/>
          </a:xfrm>
          <a:custGeom>
            <a:avLst/>
            <a:gdLst>
              <a:gd name="T0" fmla="*/ 16664990 w 80"/>
              <a:gd name="T1" fmla="*/ 559858 h 126"/>
              <a:gd name="T2" fmla="*/ 16664990 w 80"/>
              <a:gd name="T3" fmla="*/ 28281842 h 126"/>
              <a:gd name="T4" fmla="*/ 16248285 w 80"/>
              <a:gd name="T5" fmla="*/ 29121629 h 126"/>
              <a:gd name="T6" fmla="*/ 15623456 w 80"/>
              <a:gd name="T7" fmla="*/ 29961946 h 126"/>
              <a:gd name="T8" fmla="*/ 14581923 w 80"/>
              <a:gd name="T9" fmla="*/ 30521804 h 126"/>
              <a:gd name="T10" fmla="*/ 13957094 w 80"/>
              <a:gd name="T11" fmla="*/ 31081662 h 126"/>
              <a:gd name="T12" fmla="*/ 12082152 w 80"/>
              <a:gd name="T13" fmla="*/ 31921979 h 126"/>
              <a:gd name="T14" fmla="*/ 9999085 w 80"/>
              <a:gd name="T15" fmla="*/ 32481837 h 126"/>
              <a:gd name="T16" fmla="*/ 7499314 w 80"/>
              <a:gd name="T17" fmla="*/ 32761767 h 126"/>
              <a:gd name="T18" fmla="*/ 5207667 w 80"/>
              <a:gd name="T19" fmla="*/ 33322154 h 126"/>
              <a:gd name="T20" fmla="*/ 2707895 w 80"/>
              <a:gd name="T21" fmla="*/ 34441871 h 126"/>
              <a:gd name="T22" fmla="*/ 0 w 80"/>
              <a:gd name="T23" fmla="*/ 35282188 h 126"/>
              <a:gd name="T24" fmla="*/ 1458238 w 80"/>
              <a:gd name="T25" fmla="*/ 11200871 h 126"/>
              <a:gd name="T26" fmla="*/ 4790962 w 80"/>
              <a:gd name="T27" fmla="*/ 7560204 h 126"/>
              <a:gd name="T28" fmla="*/ 8540847 w 80"/>
              <a:gd name="T29" fmla="*/ 3360208 h 126"/>
              <a:gd name="T30" fmla="*/ 10623914 w 80"/>
              <a:gd name="T31" fmla="*/ 1400175 h 126"/>
              <a:gd name="T32" fmla="*/ 12498856 w 80"/>
              <a:gd name="T33" fmla="*/ 279929 h 126"/>
              <a:gd name="T34" fmla="*/ 13540390 w 80"/>
              <a:gd name="T35" fmla="*/ 0 h 126"/>
              <a:gd name="T36" fmla="*/ 14581923 w 80"/>
              <a:gd name="T37" fmla="*/ 0 h 126"/>
              <a:gd name="T38" fmla="*/ 15623456 w 80"/>
              <a:gd name="T39" fmla="*/ 279929 h 126"/>
              <a:gd name="T40" fmla="*/ 16664990 w 80"/>
              <a:gd name="T41" fmla="*/ 5598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022307" y="6260944"/>
            <a:ext cx="55562" cy="60325"/>
          </a:xfrm>
          <a:custGeom>
            <a:avLst/>
            <a:gdLst>
              <a:gd name="T0" fmla="*/ 22687667 w 124"/>
              <a:gd name="T1" fmla="*/ 0 h 117"/>
              <a:gd name="T2" fmla="*/ 23289888 w 124"/>
              <a:gd name="T3" fmla="*/ 3987637 h 117"/>
              <a:gd name="T4" fmla="*/ 24494777 w 124"/>
              <a:gd name="T5" fmla="*/ 9304487 h 117"/>
              <a:gd name="T6" fmla="*/ 24896257 w 124"/>
              <a:gd name="T7" fmla="*/ 11962912 h 117"/>
              <a:gd name="T8" fmla="*/ 24896257 w 124"/>
              <a:gd name="T9" fmla="*/ 14355288 h 117"/>
              <a:gd name="T10" fmla="*/ 24896257 w 124"/>
              <a:gd name="T11" fmla="*/ 15684500 h 117"/>
              <a:gd name="T12" fmla="*/ 24695517 w 124"/>
              <a:gd name="T13" fmla="*/ 17013712 h 117"/>
              <a:gd name="T14" fmla="*/ 24494777 w 124"/>
              <a:gd name="T15" fmla="*/ 18342925 h 117"/>
              <a:gd name="T16" fmla="*/ 23892556 w 124"/>
              <a:gd name="T17" fmla="*/ 19406604 h 117"/>
              <a:gd name="T18" fmla="*/ 22888407 w 124"/>
              <a:gd name="T19" fmla="*/ 19140555 h 117"/>
              <a:gd name="T20" fmla="*/ 21683967 w 124"/>
              <a:gd name="T21" fmla="*/ 18874507 h 117"/>
              <a:gd name="T22" fmla="*/ 20679818 w 124"/>
              <a:gd name="T23" fmla="*/ 19140555 h 117"/>
              <a:gd name="T24" fmla="*/ 19274637 w 124"/>
              <a:gd name="T25" fmla="*/ 19406604 h 117"/>
              <a:gd name="T26" fmla="*/ 16664567 w 124"/>
              <a:gd name="T27" fmla="*/ 20735816 h 117"/>
              <a:gd name="T28" fmla="*/ 14255238 w 124"/>
              <a:gd name="T29" fmla="*/ 22596611 h 117"/>
              <a:gd name="T30" fmla="*/ 9235838 w 124"/>
              <a:gd name="T31" fmla="*/ 27381878 h 117"/>
              <a:gd name="T32" fmla="*/ 5220140 w 124"/>
              <a:gd name="T33" fmla="*/ 31103467 h 117"/>
              <a:gd name="T34" fmla="*/ 4617919 w 124"/>
              <a:gd name="T35" fmla="*/ 29774254 h 117"/>
              <a:gd name="T36" fmla="*/ 2610070 w 124"/>
              <a:gd name="T37" fmla="*/ 26849781 h 117"/>
              <a:gd name="T38" fmla="*/ 802961 w 124"/>
              <a:gd name="T39" fmla="*/ 23659774 h 117"/>
              <a:gd name="T40" fmla="*/ 0 w 124"/>
              <a:gd name="T41" fmla="*/ 21001350 h 117"/>
              <a:gd name="T42" fmla="*/ 200740 w 124"/>
              <a:gd name="T43" fmla="*/ 20203719 h 117"/>
              <a:gd name="T44" fmla="*/ 401480 w 124"/>
              <a:gd name="T45" fmla="*/ 19140555 h 117"/>
              <a:gd name="T46" fmla="*/ 1003701 w 124"/>
              <a:gd name="T47" fmla="*/ 17811343 h 117"/>
              <a:gd name="T48" fmla="*/ 1807109 w 124"/>
              <a:gd name="T49" fmla="*/ 16482131 h 117"/>
              <a:gd name="T50" fmla="*/ 3413030 w 124"/>
              <a:gd name="T51" fmla="*/ 13823706 h 117"/>
              <a:gd name="T52" fmla="*/ 5420880 w 124"/>
              <a:gd name="T53" fmla="*/ 11165281 h 117"/>
              <a:gd name="T54" fmla="*/ 9637319 w 124"/>
              <a:gd name="T55" fmla="*/ 5848431 h 117"/>
              <a:gd name="T56" fmla="*/ 12046648 w 124"/>
              <a:gd name="T57" fmla="*/ 3190007 h 117"/>
              <a:gd name="T58" fmla="*/ 14656718 w 124"/>
              <a:gd name="T59" fmla="*/ 3190007 h 117"/>
              <a:gd name="T60" fmla="*/ 17266788 w 124"/>
              <a:gd name="T61" fmla="*/ 3190007 h 117"/>
              <a:gd name="T62" fmla="*/ 20077598 w 124"/>
              <a:gd name="T63" fmla="*/ 1595261 h 117"/>
              <a:gd name="T64" fmla="*/ 2268766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331869" y="4960782"/>
            <a:ext cx="503238" cy="473075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355682" y="5618007"/>
            <a:ext cx="247650" cy="228600"/>
          </a:xfrm>
          <a:custGeom>
            <a:avLst/>
            <a:gdLst>
              <a:gd name="T0" fmla="*/ 4890979 w 571"/>
              <a:gd name="T1" fmla="*/ 50593876 h 443"/>
              <a:gd name="T2" fmla="*/ 6959789 w 571"/>
              <a:gd name="T3" fmla="*/ 47132366 h 443"/>
              <a:gd name="T4" fmla="*/ 7712281 w 571"/>
              <a:gd name="T5" fmla="*/ 43670340 h 443"/>
              <a:gd name="T6" fmla="*/ 7336252 w 571"/>
              <a:gd name="T7" fmla="*/ 34350375 h 443"/>
              <a:gd name="T8" fmla="*/ 8276541 w 571"/>
              <a:gd name="T9" fmla="*/ 31953945 h 443"/>
              <a:gd name="T10" fmla="*/ 10345785 w 571"/>
              <a:gd name="T11" fmla="*/ 29823786 h 443"/>
              <a:gd name="T12" fmla="*/ 12791057 w 571"/>
              <a:gd name="T13" fmla="*/ 28492436 h 443"/>
              <a:gd name="T14" fmla="*/ 15048532 w 571"/>
              <a:gd name="T15" fmla="*/ 27693626 h 443"/>
              <a:gd name="T16" fmla="*/ 19374818 w 571"/>
              <a:gd name="T17" fmla="*/ 28226166 h 443"/>
              <a:gd name="T18" fmla="*/ 23325074 w 571"/>
              <a:gd name="T19" fmla="*/ 29024976 h 443"/>
              <a:gd name="T20" fmla="*/ 29721036 w 571"/>
              <a:gd name="T21" fmla="*/ 31953945 h 443"/>
              <a:gd name="T22" fmla="*/ 34611581 w 571"/>
              <a:gd name="T23" fmla="*/ 35948511 h 443"/>
              <a:gd name="T24" fmla="*/ 38750069 w 571"/>
              <a:gd name="T25" fmla="*/ 41007641 h 443"/>
              <a:gd name="T26" fmla="*/ 47779101 w 571"/>
              <a:gd name="T27" fmla="*/ 24497870 h 443"/>
              <a:gd name="T28" fmla="*/ 53610370 w 571"/>
              <a:gd name="T29" fmla="*/ 13047745 h 443"/>
              <a:gd name="T30" fmla="*/ 101201240 w 571"/>
              <a:gd name="T31" fmla="*/ 11450125 h 443"/>
              <a:gd name="T32" fmla="*/ 104775467 w 571"/>
              <a:gd name="T33" fmla="*/ 20770090 h 443"/>
              <a:gd name="T34" fmla="*/ 105716190 w 571"/>
              <a:gd name="T35" fmla="*/ 26096006 h 443"/>
              <a:gd name="T36" fmla="*/ 106092219 w 571"/>
              <a:gd name="T37" fmla="*/ 32752755 h 443"/>
              <a:gd name="T38" fmla="*/ 106844711 w 571"/>
              <a:gd name="T39" fmla="*/ 40208831 h 443"/>
              <a:gd name="T40" fmla="*/ 107408971 w 571"/>
              <a:gd name="T41" fmla="*/ 47398636 h 443"/>
              <a:gd name="T42" fmla="*/ 106092219 w 571"/>
              <a:gd name="T43" fmla="*/ 47931176 h 443"/>
              <a:gd name="T44" fmla="*/ 105716190 w 571"/>
              <a:gd name="T45" fmla="*/ 47664906 h 443"/>
              <a:gd name="T46" fmla="*/ 104963698 w 571"/>
              <a:gd name="T47" fmla="*/ 48996256 h 443"/>
              <a:gd name="T48" fmla="*/ 103082686 w 571"/>
              <a:gd name="T49" fmla="*/ 55120981 h 443"/>
              <a:gd name="T50" fmla="*/ 100449182 w 571"/>
              <a:gd name="T51" fmla="*/ 59913841 h 443"/>
              <a:gd name="T52" fmla="*/ 96874955 w 571"/>
              <a:gd name="T53" fmla="*/ 63641621 h 443"/>
              <a:gd name="T54" fmla="*/ 92924699 w 571"/>
              <a:gd name="T55" fmla="*/ 66304837 h 443"/>
              <a:gd name="T56" fmla="*/ 76183385 w 571"/>
              <a:gd name="T57" fmla="*/ 75358532 h 443"/>
              <a:gd name="T58" fmla="*/ 65272907 w 571"/>
              <a:gd name="T59" fmla="*/ 81749011 h 443"/>
              <a:gd name="T60" fmla="*/ 55491382 w 571"/>
              <a:gd name="T61" fmla="*/ 87341197 h 443"/>
              <a:gd name="T62" fmla="*/ 46086320 w 571"/>
              <a:gd name="T63" fmla="*/ 91867786 h 443"/>
              <a:gd name="T64" fmla="*/ 34988044 w 571"/>
              <a:gd name="T65" fmla="*/ 96661162 h 443"/>
              <a:gd name="T66" fmla="*/ 31413817 w 571"/>
              <a:gd name="T67" fmla="*/ 98791322 h 443"/>
              <a:gd name="T68" fmla="*/ 28027821 w 571"/>
              <a:gd name="T69" fmla="*/ 101454022 h 443"/>
              <a:gd name="T70" fmla="*/ 22384784 w 571"/>
              <a:gd name="T71" fmla="*/ 107312477 h 443"/>
              <a:gd name="T72" fmla="*/ 17306008 w 571"/>
              <a:gd name="T73" fmla="*/ 113437203 h 443"/>
              <a:gd name="T74" fmla="*/ 12603260 w 571"/>
              <a:gd name="T75" fmla="*/ 117963792 h 443"/>
              <a:gd name="T76" fmla="*/ 9405495 w 571"/>
              <a:gd name="T77" fmla="*/ 100655212 h 443"/>
              <a:gd name="T78" fmla="*/ 6207731 w 571"/>
              <a:gd name="T79" fmla="*/ 83346631 h 443"/>
              <a:gd name="T80" fmla="*/ 3009533 w 571"/>
              <a:gd name="T81" fmla="*/ 66837377 h 443"/>
              <a:gd name="T82" fmla="*/ 0 w 571"/>
              <a:gd name="T83" fmla="*/ 52191496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550944" y="5392582"/>
            <a:ext cx="120650" cy="120650"/>
          </a:xfrm>
          <a:custGeom>
            <a:avLst/>
            <a:gdLst>
              <a:gd name="T0" fmla="*/ 0 w 286"/>
              <a:gd name="T1" fmla="*/ 31081662 h 228"/>
              <a:gd name="T2" fmla="*/ 711666 w 286"/>
              <a:gd name="T3" fmla="*/ 30521804 h 228"/>
              <a:gd name="T4" fmla="*/ 1245732 w 286"/>
              <a:gd name="T5" fmla="*/ 30521804 h 228"/>
              <a:gd name="T6" fmla="*/ 1779798 w 286"/>
              <a:gd name="T7" fmla="*/ 30801733 h 228"/>
              <a:gd name="T8" fmla="*/ 1957399 w 286"/>
              <a:gd name="T9" fmla="*/ 31081662 h 228"/>
              <a:gd name="T10" fmla="*/ 2135421 w 286"/>
              <a:gd name="T11" fmla="*/ 32761767 h 228"/>
              <a:gd name="T12" fmla="*/ 2313443 w 286"/>
              <a:gd name="T13" fmla="*/ 34441871 h 228"/>
              <a:gd name="T14" fmla="*/ 2491465 w 286"/>
              <a:gd name="T15" fmla="*/ 35842046 h 228"/>
              <a:gd name="T16" fmla="*/ 2847509 w 286"/>
              <a:gd name="T17" fmla="*/ 36682363 h 228"/>
              <a:gd name="T18" fmla="*/ 3381153 w 286"/>
              <a:gd name="T19" fmla="*/ 37522150 h 228"/>
              <a:gd name="T20" fmla="*/ 4270841 w 286"/>
              <a:gd name="T21" fmla="*/ 38082538 h 228"/>
              <a:gd name="T22" fmla="*/ 5160951 w 286"/>
              <a:gd name="T23" fmla="*/ 38362467 h 228"/>
              <a:gd name="T24" fmla="*/ 6584706 w 286"/>
              <a:gd name="T25" fmla="*/ 38642396 h 228"/>
              <a:gd name="T26" fmla="*/ 8542104 w 286"/>
              <a:gd name="T27" fmla="*/ 38642396 h 228"/>
              <a:gd name="T28" fmla="*/ 10677525 w 286"/>
              <a:gd name="T29" fmla="*/ 38082538 h 228"/>
              <a:gd name="T30" fmla="*/ 17440253 w 286"/>
              <a:gd name="T31" fmla="*/ 36402433 h 228"/>
              <a:gd name="T32" fmla="*/ 22956826 w 286"/>
              <a:gd name="T33" fmla="*/ 34161942 h 228"/>
              <a:gd name="T34" fmla="*/ 25448291 w 286"/>
              <a:gd name="T35" fmla="*/ 33042225 h 228"/>
              <a:gd name="T36" fmla="*/ 27761734 w 286"/>
              <a:gd name="T37" fmla="*/ 31921979 h 228"/>
              <a:gd name="T38" fmla="*/ 29719132 w 286"/>
              <a:gd name="T39" fmla="*/ 30521804 h 228"/>
              <a:gd name="T40" fmla="*/ 31676953 w 286"/>
              <a:gd name="T41" fmla="*/ 28841700 h 228"/>
              <a:gd name="T42" fmla="*/ 33456329 w 286"/>
              <a:gd name="T43" fmla="*/ 26881667 h 228"/>
              <a:gd name="T44" fmla="*/ 35236128 w 286"/>
              <a:gd name="T45" fmla="*/ 24361775 h 228"/>
              <a:gd name="T46" fmla="*/ 37015504 w 286"/>
              <a:gd name="T47" fmla="*/ 21841354 h 228"/>
              <a:gd name="T48" fmla="*/ 38973325 w 286"/>
              <a:gd name="T49" fmla="*/ 18201217 h 228"/>
              <a:gd name="T50" fmla="*/ 40752701 w 286"/>
              <a:gd name="T51" fmla="*/ 14561079 h 228"/>
              <a:gd name="T52" fmla="*/ 42888544 w 286"/>
              <a:gd name="T53" fmla="*/ 10360554 h 228"/>
              <a:gd name="T54" fmla="*/ 45023965 w 286"/>
              <a:gd name="T55" fmla="*/ 5600171 h 228"/>
              <a:gd name="T56" fmla="*/ 47337407 w 286"/>
              <a:gd name="T57" fmla="*/ 0 h 228"/>
              <a:gd name="T58" fmla="*/ 48049073 w 286"/>
              <a:gd name="T59" fmla="*/ 1960033 h 228"/>
              <a:gd name="T60" fmla="*/ 48761162 w 286"/>
              <a:gd name="T61" fmla="*/ 3640137 h 228"/>
              <a:gd name="T62" fmla="*/ 49116784 w 286"/>
              <a:gd name="T63" fmla="*/ 5600171 h 228"/>
              <a:gd name="T64" fmla="*/ 49650850 w 286"/>
              <a:gd name="T65" fmla="*/ 7560204 h 228"/>
              <a:gd name="T66" fmla="*/ 50184916 w 286"/>
              <a:gd name="T67" fmla="*/ 11760729 h 228"/>
              <a:gd name="T68" fmla="*/ 50896582 w 286"/>
              <a:gd name="T69" fmla="*/ 17360900 h 228"/>
              <a:gd name="T70" fmla="*/ 43778232 w 286"/>
              <a:gd name="T71" fmla="*/ 55443437 h 228"/>
              <a:gd name="T72" fmla="*/ 40219057 w 286"/>
              <a:gd name="T73" fmla="*/ 63843958 h 228"/>
              <a:gd name="T74" fmla="*/ 9431793 w 286"/>
              <a:gd name="T75" fmla="*/ 58803646 h 228"/>
              <a:gd name="T76" fmla="*/ 0 w 286"/>
              <a:gd name="T77" fmla="*/ 31081662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238207" y="5044919"/>
            <a:ext cx="222250" cy="263525"/>
          </a:xfrm>
          <a:custGeom>
            <a:avLst/>
            <a:gdLst>
              <a:gd name="T0" fmla="*/ 85990391 w 524"/>
              <a:gd name="T1" fmla="*/ 100754218 h 505"/>
              <a:gd name="T2" fmla="*/ 87069406 w 524"/>
              <a:gd name="T3" fmla="*/ 94218798 h 505"/>
              <a:gd name="T4" fmla="*/ 86889571 w 524"/>
              <a:gd name="T5" fmla="*/ 89589629 h 505"/>
              <a:gd name="T6" fmla="*/ 85990391 w 524"/>
              <a:gd name="T7" fmla="*/ 82237020 h 505"/>
              <a:gd name="T8" fmla="*/ 81852469 w 524"/>
              <a:gd name="T9" fmla="*/ 81420354 h 505"/>
              <a:gd name="T10" fmla="*/ 77535136 w 524"/>
              <a:gd name="T11" fmla="*/ 78425040 h 505"/>
              <a:gd name="T12" fmla="*/ 73217378 w 524"/>
              <a:gd name="T13" fmla="*/ 74612538 h 505"/>
              <a:gd name="T14" fmla="*/ 69439977 w 524"/>
              <a:gd name="T15" fmla="*/ 69710973 h 505"/>
              <a:gd name="T16" fmla="*/ 65841987 w 524"/>
              <a:gd name="T17" fmla="*/ 64537012 h 505"/>
              <a:gd name="T18" fmla="*/ 63323436 w 524"/>
              <a:gd name="T19" fmla="*/ 58818780 h 505"/>
              <a:gd name="T20" fmla="*/ 61524229 w 524"/>
              <a:gd name="T21" fmla="*/ 53372423 h 505"/>
              <a:gd name="T22" fmla="*/ 60984721 w 524"/>
              <a:gd name="T23" fmla="*/ 48470858 h 505"/>
              <a:gd name="T24" fmla="*/ 61344393 w 524"/>
              <a:gd name="T25" fmla="*/ 44114085 h 505"/>
              <a:gd name="T26" fmla="*/ 62783504 w 524"/>
              <a:gd name="T27" fmla="*/ 40846375 h 505"/>
              <a:gd name="T28" fmla="*/ 65662151 w 524"/>
              <a:gd name="T29" fmla="*/ 37033873 h 505"/>
              <a:gd name="T30" fmla="*/ 63683108 w 524"/>
              <a:gd name="T31" fmla="*/ 35400018 h 505"/>
              <a:gd name="T32" fmla="*/ 61344393 w 524"/>
              <a:gd name="T33" fmla="*/ 32404704 h 505"/>
              <a:gd name="T34" fmla="*/ 56666964 w 524"/>
              <a:gd name="T35" fmla="*/ 23690637 h 505"/>
              <a:gd name="T36" fmla="*/ 52529466 w 524"/>
              <a:gd name="T37" fmla="*/ 13887507 h 505"/>
              <a:gd name="T38" fmla="*/ 50190751 w 524"/>
              <a:gd name="T39" fmla="*/ 6807816 h 505"/>
              <a:gd name="T40" fmla="*/ 46773021 w 524"/>
              <a:gd name="T41" fmla="*/ 6535420 h 505"/>
              <a:gd name="T42" fmla="*/ 42995196 w 524"/>
              <a:gd name="T43" fmla="*/ 5173961 h 505"/>
              <a:gd name="T44" fmla="*/ 39397206 w 524"/>
              <a:gd name="T45" fmla="*/ 2995314 h 505"/>
              <a:gd name="T46" fmla="*/ 35439544 w 524"/>
              <a:gd name="T47" fmla="*/ 1633855 h 505"/>
              <a:gd name="T48" fmla="*/ 30582279 w 524"/>
              <a:gd name="T49" fmla="*/ 816667 h 505"/>
              <a:gd name="T50" fmla="*/ 26804453 w 524"/>
              <a:gd name="T51" fmla="*/ 2178647 h 505"/>
              <a:gd name="T52" fmla="*/ 20508076 w 524"/>
              <a:gd name="T53" fmla="*/ 11164589 h 505"/>
              <a:gd name="T54" fmla="*/ 17629854 w 524"/>
              <a:gd name="T55" fmla="*/ 15521362 h 505"/>
              <a:gd name="T56" fmla="*/ 16730250 w 524"/>
              <a:gd name="T57" fmla="*/ 17427613 h 505"/>
              <a:gd name="T58" fmla="*/ 16910086 w 524"/>
              <a:gd name="T59" fmla="*/ 25596888 h 505"/>
              <a:gd name="T60" fmla="*/ 17089922 w 524"/>
              <a:gd name="T61" fmla="*/ 38122935 h 505"/>
              <a:gd name="T62" fmla="*/ 16910086 w 524"/>
              <a:gd name="T63" fmla="*/ 44658355 h 505"/>
              <a:gd name="T64" fmla="*/ 15470975 w 524"/>
              <a:gd name="T65" fmla="*/ 49015650 h 505"/>
              <a:gd name="T66" fmla="*/ 12052821 w 524"/>
              <a:gd name="T67" fmla="*/ 53644819 h 505"/>
              <a:gd name="T68" fmla="*/ 7195980 w 524"/>
              <a:gd name="T69" fmla="*/ 58273988 h 505"/>
              <a:gd name="T70" fmla="*/ 2338715 w 524"/>
              <a:gd name="T71" fmla="*/ 62086490 h 505"/>
              <a:gd name="T72" fmla="*/ 359672 w 524"/>
              <a:gd name="T73" fmla="*/ 66988055 h 505"/>
              <a:gd name="T74" fmla="*/ 359672 w 524"/>
              <a:gd name="T75" fmla="*/ 71889620 h 505"/>
              <a:gd name="T76" fmla="*/ 0 w 524"/>
              <a:gd name="T77" fmla="*/ 75701600 h 505"/>
              <a:gd name="T78" fmla="*/ 0 w 524"/>
              <a:gd name="T79" fmla="*/ 78696914 h 505"/>
              <a:gd name="T80" fmla="*/ 1259275 w 524"/>
              <a:gd name="T81" fmla="*/ 81964624 h 505"/>
              <a:gd name="T82" fmla="*/ 4677429 w 524"/>
              <a:gd name="T83" fmla="*/ 85504730 h 505"/>
              <a:gd name="T84" fmla="*/ 11153642 w 524"/>
              <a:gd name="T85" fmla="*/ 90133899 h 505"/>
              <a:gd name="T86" fmla="*/ 21587516 w 524"/>
              <a:gd name="T87" fmla="*/ 96669319 h 505"/>
              <a:gd name="T88" fmla="*/ 32381062 w 524"/>
              <a:gd name="T89" fmla="*/ 101843280 h 505"/>
              <a:gd name="T90" fmla="*/ 38497602 w 524"/>
              <a:gd name="T91" fmla="*/ 104838594 h 505"/>
              <a:gd name="T92" fmla="*/ 42635100 w 524"/>
              <a:gd name="T93" fmla="*/ 108923493 h 505"/>
              <a:gd name="T94" fmla="*/ 45333910 w 524"/>
              <a:gd name="T95" fmla="*/ 113825058 h 505"/>
              <a:gd name="T96" fmla="*/ 47132693 w 524"/>
              <a:gd name="T97" fmla="*/ 118454227 h 505"/>
              <a:gd name="T98" fmla="*/ 47852461 w 524"/>
              <a:gd name="T99" fmla="*/ 122810999 h 505"/>
              <a:gd name="T100" fmla="*/ 48571804 w 524"/>
              <a:gd name="T101" fmla="*/ 127712564 h 505"/>
              <a:gd name="T102" fmla="*/ 49831080 w 524"/>
              <a:gd name="T103" fmla="*/ 130980274 h 505"/>
              <a:gd name="T104" fmla="*/ 51630287 w 524"/>
              <a:gd name="T105" fmla="*/ 133158922 h 505"/>
              <a:gd name="T106" fmla="*/ 55227853 w 524"/>
              <a:gd name="T107" fmla="*/ 135337047 h 505"/>
              <a:gd name="T108" fmla="*/ 59005678 w 524"/>
              <a:gd name="T109" fmla="*/ 136970902 h 505"/>
              <a:gd name="T110" fmla="*/ 60264954 w 524"/>
              <a:gd name="T111" fmla="*/ 136154235 h 505"/>
              <a:gd name="T112" fmla="*/ 62243997 w 524"/>
              <a:gd name="T113" fmla="*/ 135881839 h 505"/>
              <a:gd name="T114" fmla="*/ 65841987 w 524"/>
              <a:gd name="T115" fmla="*/ 136970902 h 505"/>
              <a:gd name="T116" fmla="*/ 68900045 w 524"/>
              <a:gd name="T117" fmla="*/ 137515694 h 505"/>
              <a:gd name="T118" fmla="*/ 78614575 w 524"/>
              <a:gd name="T119" fmla="*/ 137515694 h 505"/>
              <a:gd name="T120" fmla="*/ 83651677 w 524"/>
              <a:gd name="T121" fmla="*/ 122266207 h 505"/>
              <a:gd name="T122" fmla="*/ 88508518 w 524"/>
              <a:gd name="T123" fmla="*/ 11899849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738269" y="5005232"/>
            <a:ext cx="331788" cy="290512"/>
          </a:xfrm>
          <a:custGeom>
            <a:avLst/>
            <a:gdLst>
              <a:gd name="T0" fmla="*/ 11692921 w 764"/>
              <a:gd name="T1" fmla="*/ 53702844 h 555"/>
              <a:gd name="T2" fmla="*/ 17539599 w 764"/>
              <a:gd name="T3" fmla="*/ 52059227 h 555"/>
              <a:gd name="T4" fmla="*/ 24140617 w 764"/>
              <a:gd name="T5" fmla="*/ 49867039 h 555"/>
              <a:gd name="T6" fmla="*/ 33004655 w 764"/>
              <a:gd name="T7" fmla="*/ 41373096 h 555"/>
              <a:gd name="T8" fmla="*/ 36587878 w 764"/>
              <a:gd name="T9" fmla="*/ 34523295 h 555"/>
              <a:gd name="T10" fmla="*/ 37530695 w 764"/>
              <a:gd name="T11" fmla="*/ 24111449 h 555"/>
              <a:gd name="T12" fmla="*/ 39228285 w 764"/>
              <a:gd name="T13" fmla="*/ 18905788 h 555"/>
              <a:gd name="T14" fmla="*/ 45263440 w 764"/>
              <a:gd name="T15" fmla="*/ 16439839 h 555"/>
              <a:gd name="T16" fmla="*/ 55447681 w 764"/>
              <a:gd name="T17" fmla="*/ 16987885 h 555"/>
              <a:gd name="T18" fmla="*/ 62048264 w 764"/>
              <a:gd name="T19" fmla="*/ 19453835 h 555"/>
              <a:gd name="T20" fmla="*/ 68271895 w 764"/>
              <a:gd name="T21" fmla="*/ 24659496 h 555"/>
              <a:gd name="T22" fmla="*/ 72798369 w 764"/>
              <a:gd name="T23" fmla="*/ 25481305 h 555"/>
              <a:gd name="T24" fmla="*/ 79022000 w 764"/>
              <a:gd name="T25" fmla="*/ 23015355 h 555"/>
              <a:gd name="T26" fmla="*/ 86754745 w 764"/>
              <a:gd name="T27" fmla="*/ 16713600 h 555"/>
              <a:gd name="T28" fmla="*/ 90337969 w 764"/>
              <a:gd name="T29" fmla="*/ 9041990 h 555"/>
              <a:gd name="T30" fmla="*/ 95807259 w 764"/>
              <a:gd name="T31" fmla="*/ 1096094 h 555"/>
              <a:gd name="T32" fmla="*/ 99956346 w 764"/>
              <a:gd name="T33" fmla="*/ 5205661 h 555"/>
              <a:gd name="T34" fmla="*/ 103728481 w 764"/>
              <a:gd name="T35" fmla="*/ 12329748 h 555"/>
              <a:gd name="T36" fmla="*/ 105803024 w 764"/>
              <a:gd name="T37" fmla="*/ 23837687 h 555"/>
              <a:gd name="T38" fmla="*/ 107500181 w 764"/>
              <a:gd name="T39" fmla="*/ 27673493 h 555"/>
              <a:gd name="T40" fmla="*/ 111083404 w 764"/>
              <a:gd name="T41" fmla="*/ 28495301 h 555"/>
              <a:gd name="T42" fmla="*/ 117307469 w 764"/>
              <a:gd name="T43" fmla="*/ 20001359 h 555"/>
              <a:gd name="T44" fmla="*/ 140127448 w 764"/>
              <a:gd name="T45" fmla="*/ 18083456 h 555"/>
              <a:gd name="T46" fmla="*/ 143145242 w 764"/>
              <a:gd name="T47" fmla="*/ 23837687 h 555"/>
              <a:gd name="T48" fmla="*/ 128057140 w 764"/>
              <a:gd name="T49" fmla="*/ 27399731 h 555"/>
              <a:gd name="T50" fmla="*/ 114101198 w 764"/>
              <a:gd name="T51" fmla="*/ 30687489 h 555"/>
              <a:gd name="T52" fmla="*/ 108254521 w 764"/>
              <a:gd name="T53" fmla="*/ 35619388 h 555"/>
              <a:gd name="T54" fmla="*/ 107688657 w 764"/>
              <a:gd name="T55" fmla="*/ 40277002 h 555"/>
              <a:gd name="T56" fmla="*/ 109763201 w 764"/>
              <a:gd name="T57" fmla="*/ 44935140 h 555"/>
              <a:gd name="T58" fmla="*/ 113346858 w 764"/>
              <a:gd name="T59" fmla="*/ 49318992 h 555"/>
              <a:gd name="T60" fmla="*/ 113912722 w 764"/>
              <a:gd name="T61" fmla="*/ 53429083 h 555"/>
              <a:gd name="T62" fmla="*/ 112026655 w 764"/>
              <a:gd name="T63" fmla="*/ 58360982 h 555"/>
              <a:gd name="T64" fmla="*/ 108254521 w 764"/>
              <a:gd name="T65" fmla="*/ 64936499 h 555"/>
              <a:gd name="T66" fmla="*/ 106557364 w 764"/>
              <a:gd name="T67" fmla="*/ 69868398 h 555"/>
              <a:gd name="T68" fmla="*/ 102219366 w 764"/>
              <a:gd name="T69" fmla="*/ 73704726 h 555"/>
              <a:gd name="T70" fmla="*/ 97881803 w 764"/>
              <a:gd name="T71" fmla="*/ 84938381 h 555"/>
              <a:gd name="T72" fmla="*/ 95807259 w 764"/>
              <a:gd name="T73" fmla="*/ 99460316 h 555"/>
              <a:gd name="T74" fmla="*/ 93732716 w 764"/>
              <a:gd name="T75" fmla="*/ 116447679 h 555"/>
              <a:gd name="T76" fmla="*/ 89960581 w 764"/>
              <a:gd name="T77" fmla="*/ 112885635 h 555"/>
              <a:gd name="T78" fmla="*/ 86754745 w 764"/>
              <a:gd name="T79" fmla="*/ 111515779 h 555"/>
              <a:gd name="T80" fmla="*/ 82794134 w 764"/>
              <a:gd name="T81" fmla="*/ 114529776 h 555"/>
              <a:gd name="T82" fmla="*/ 77513320 w 764"/>
              <a:gd name="T83" fmla="*/ 120557769 h 555"/>
              <a:gd name="T84" fmla="*/ 74118573 w 764"/>
              <a:gd name="T85" fmla="*/ 121653863 h 555"/>
              <a:gd name="T86" fmla="*/ 70723826 w 764"/>
              <a:gd name="T87" fmla="*/ 126859524 h 555"/>
              <a:gd name="T88" fmla="*/ 68837759 w 764"/>
              <a:gd name="T89" fmla="*/ 140011081 h 555"/>
              <a:gd name="T90" fmla="*/ 66008875 w 764"/>
              <a:gd name="T91" fmla="*/ 143847409 h 555"/>
              <a:gd name="T92" fmla="*/ 50921207 w 764"/>
              <a:gd name="T93" fmla="*/ 149601117 h 555"/>
              <a:gd name="T94" fmla="*/ 36587878 w 764"/>
              <a:gd name="T95" fmla="*/ 151793305 h 555"/>
              <a:gd name="T96" fmla="*/ 21311299 w 764"/>
              <a:gd name="T97" fmla="*/ 148505023 h 555"/>
              <a:gd name="T98" fmla="*/ 17916552 w 764"/>
              <a:gd name="T99" fmla="*/ 141929507 h 555"/>
              <a:gd name="T100" fmla="*/ 21688686 w 764"/>
              <a:gd name="T101" fmla="*/ 133709326 h 555"/>
              <a:gd name="T102" fmla="*/ 23574753 w 764"/>
              <a:gd name="T103" fmla="*/ 126585762 h 555"/>
              <a:gd name="T104" fmla="*/ 23197366 w 764"/>
              <a:gd name="T105" fmla="*/ 121105816 h 555"/>
              <a:gd name="T106" fmla="*/ 20934346 w 764"/>
              <a:gd name="T107" fmla="*/ 118639866 h 555"/>
              <a:gd name="T108" fmla="*/ 13013125 w 764"/>
              <a:gd name="T109" fmla="*/ 118091819 h 555"/>
              <a:gd name="T110" fmla="*/ 9806854 w 764"/>
              <a:gd name="T111" fmla="*/ 115351585 h 555"/>
              <a:gd name="T112" fmla="*/ 6412107 w 764"/>
              <a:gd name="T113" fmla="*/ 105214024 h 555"/>
              <a:gd name="T114" fmla="*/ 3583224 w 764"/>
              <a:gd name="T115" fmla="*/ 84664619 h 555"/>
              <a:gd name="T116" fmla="*/ 1886067 w 764"/>
              <a:gd name="T117" fmla="*/ 79732720 h 555"/>
              <a:gd name="T118" fmla="*/ 0 w 764"/>
              <a:gd name="T119" fmla="*/ 76718723 h 555"/>
              <a:gd name="T120" fmla="*/ 377387 w 764"/>
              <a:gd name="T121" fmla="*/ 73430441 h 555"/>
              <a:gd name="T122" fmla="*/ 4149087 w 764"/>
              <a:gd name="T123" fmla="*/ 67950495 h 555"/>
              <a:gd name="T124" fmla="*/ 6412107 w 764"/>
              <a:gd name="T125" fmla="*/ 6055264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770019" y="5054444"/>
            <a:ext cx="365125" cy="423863"/>
          </a:xfrm>
          <a:custGeom>
            <a:avLst/>
            <a:gdLst>
              <a:gd name="T0" fmla="*/ 150389759 w 831"/>
              <a:gd name="T1" fmla="*/ 22343635 h 812"/>
              <a:gd name="T2" fmla="*/ 136489964 w 831"/>
              <a:gd name="T3" fmla="*/ 7902017 h 812"/>
              <a:gd name="T4" fmla="*/ 108497048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4 h 812"/>
              <a:gd name="T10" fmla="*/ 95948347 w 831"/>
              <a:gd name="T11" fmla="*/ 19346318 h 812"/>
              <a:gd name="T12" fmla="*/ 99809621 w 831"/>
              <a:gd name="T13" fmla="*/ 24523502 h 812"/>
              <a:gd name="T14" fmla="*/ 99616294 w 831"/>
              <a:gd name="T15" fmla="*/ 30245653 h 812"/>
              <a:gd name="T16" fmla="*/ 94790141 w 831"/>
              <a:gd name="T17" fmla="*/ 38147670 h 812"/>
              <a:gd name="T18" fmla="*/ 92666616 w 831"/>
              <a:gd name="T19" fmla="*/ 44142304 h 812"/>
              <a:gd name="T20" fmla="*/ 86874705 w 831"/>
              <a:gd name="T21" fmla="*/ 50136938 h 812"/>
              <a:gd name="T22" fmla="*/ 82434328 w 831"/>
              <a:gd name="T23" fmla="*/ 66213456 h 812"/>
              <a:gd name="T24" fmla="*/ 81083234 w 831"/>
              <a:gd name="T25" fmla="*/ 90464475 h 812"/>
              <a:gd name="T26" fmla="*/ 75677539 w 831"/>
              <a:gd name="T27" fmla="*/ 86922191 h 812"/>
              <a:gd name="T28" fmla="*/ 71430489 w 831"/>
              <a:gd name="T29" fmla="*/ 85832258 h 812"/>
              <a:gd name="T30" fmla="*/ 65252802 w 831"/>
              <a:gd name="T31" fmla="*/ 92371858 h 812"/>
              <a:gd name="T32" fmla="*/ 60426210 w 831"/>
              <a:gd name="T33" fmla="*/ 95641658 h 812"/>
              <a:gd name="T34" fmla="*/ 55985833 w 831"/>
              <a:gd name="T35" fmla="*/ 100818842 h 812"/>
              <a:gd name="T36" fmla="*/ 54055196 w 831"/>
              <a:gd name="T37" fmla="*/ 115532421 h 812"/>
              <a:gd name="T38" fmla="*/ 45367770 w 831"/>
              <a:gd name="T39" fmla="*/ 120437122 h 812"/>
              <a:gd name="T40" fmla="*/ 24517858 w 831"/>
              <a:gd name="T41" fmla="*/ 125886789 h 812"/>
              <a:gd name="T42" fmla="*/ 5019480 w 831"/>
              <a:gd name="T43" fmla="*/ 122344505 h 812"/>
              <a:gd name="T44" fmla="*/ 9845633 w 831"/>
              <a:gd name="T45" fmla="*/ 137603573 h 812"/>
              <a:gd name="T46" fmla="*/ 18533499 w 831"/>
              <a:gd name="T47" fmla="*/ 147140491 h 812"/>
              <a:gd name="T48" fmla="*/ 23745867 w 831"/>
              <a:gd name="T49" fmla="*/ 157222375 h 812"/>
              <a:gd name="T50" fmla="*/ 27413813 w 831"/>
              <a:gd name="T51" fmla="*/ 162399559 h 812"/>
              <a:gd name="T52" fmla="*/ 19112602 w 831"/>
              <a:gd name="T53" fmla="*/ 176296210 h 812"/>
              <a:gd name="T54" fmla="*/ 16795750 w 831"/>
              <a:gd name="T55" fmla="*/ 182835811 h 812"/>
              <a:gd name="T56" fmla="*/ 21042800 w 831"/>
              <a:gd name="T57" fmla="*/ 196187495 h 812"/>
              <a:gd name="T58" fmla="*/ 42858030 w 831"/>
              <a:gd name="T59" fmla="*/ 193462662 h 812"/>
              <a:gd name="T60" fmla="*/ 58302685 w 831"/>
              <a:gd name="T61" fmla="*/ 192100245 h 812"/>
              <a:gd name="T62" fmla="*/ 63707941 w 831"/>
              <a:gd name="T63" fmla="*/ 196459979 h 812"/>
              <a:gd name="T64" fmla="*/ 69306964 w 831"/>
              <a:gd name="T65" fmla="*/ 205996896 h 812"/>
              <a:gd name="T66" fmla="*/ 78766382 w 831"/>
              <a:gd name="T67" fmla="*/ 213898913 h 812"/>
              <a:gd name="T68" fmla="*/ 86681817 w 831"/>
              <a:gd name="T69" fmla="*/ 218803614 h 812"/>
              <a:gd name="T70" fmla="*/ 88805342 w 831"/>
              <a:gd name="T71" fmla="*/ 215533814 h 812"/>
              <a:gd name="T72" fmla="*/ 94017710 w 831"/>
              <a:gd name="T73" fmla="*/ 210901596 h 812"/>
              <a:gd name="T74" fmla="*/ 106952626 w 831"/>
              <a:gd name="T75" fmla="*/ 208176763 h 812"/>
              <a:gd name="T76" fmla="*/ 115253837 w 831"/>
              <a:gd name="T77" fmla="*/ 204361996 h 812"/>
              <a:gd name="T78" fmla="*/ 119307999 w 831"/>
              <a:gd name="T79" fmla="*/ 198094879 h 812"/>
              <a:gd name="T80" fmla="*/ 112744097 w 831"/>
              <a:gd name="T81" fmla="*/ 190737828 h 812"/>
              <a:gd name="T82" fmla="*/ 104635774 w 831"/>
              <a:gd name="T83" fmla="*/ 174661310 h 812"/>
              <a:gd name="T84" fmla="*/ 101546931 w 831"/>
              <a:gd name="T85" fmla="*/ 170029093 h 812"/>
              <a:gd name="T86" fmla="*/ 101546931 w 831"/>
              <a:gd name="T87" fmla="*/ 157494858 h 812"/>
              <a:gd name="T88" fmla="*/ 112357882 w 831"/>
              <a:gd name="T89" fmla="*/ 153407608 h 812"/>
              <a:gd name="T90" fmla="*/ 120080429 w 831"/>
              <a:gd name="T91" fmla="*/ 144688141 h 812"/>
              <a:gd name="T92" fmla="*/ 132822018 w 831"/>
              <a:gd name="T93" fmla="*/ 113625038 h 812"/>
              <a:gd name="T94" fmla="*/ 140930341 w 831"/>
              <a:gd name="T95" fmla="*/ 100273875 h 812"/>
              <a:gd name="T96" fmla="*/ 139965023 w 831"/>
              <a:gd name="T97" fmla="*/ 89919508 h 812"/>
              <a:gd name="T98" fmla="*/ 140737014 w 831"/>
              <a:gd name="T99" fmla="*/ 83107424 h 812"/>
              <a:gd name="T100" fmla="*/ 144984503 w 831"/>
              <a:gd name="T101" fmla="*/ 78747690 h 812"/>
              <a:gd name="T102" fmla="*/ 129346959 w 831"/>
              <a:gd name="T103" fmla="*/ 56404055 h 812"/>
              <a:gd name="T104" fmla="*/ 146335597 w 831"/>
              <a:gd name="T105" fmla="*/ 38147670 h 812"/>
              <a:gd name="T106" fmla="*/ 155409239 w 831"/>
              <a:gd name="T107" fmla="*/ 33515453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560594" y="5322732"/>
            <a:ext cx="220663" cy="585787"/>
          </a:xfrm>
          <a:custGeom>
            <a:avLst/>
            <a:gdLst>
              <a:gd name="T0" fmla="*/ 83627781 w 505"/>
              <a:gd name="T1" fmla="*/ 291361884 h 1121"/>
              <a:gd name="T2" fmla="*/ 84582531 w 505"/>
              <a:gd name="T3" fmla="*/ 280712161 h 1121"/>
              <a:gd name="T4" fmla="*/ 76181607 w 505"/>
              <a:gd name="T5" fmla="*/ 279073943 h 1121"/>
              <a:gd name="T6" fmla="*/ 77326870 w 505"/>
              <a:gd name="T7" fmla="*/ 261324754 h 1121"/>
              <a:gd name="T8" fmla="*/ 80000169 w 505"/>
              <a:gd name="T9" fmla="*/ 254224765 h 1121"/>
              <a:gd name="T10" fmla="*/ 78854469 w 505"/>
              <a:gd name="T11" fmla="*/ 245486558 h 1121"/>
              <a:gd name="T12" fmla="*/ 75990657 w 505"/>
              <a:gd name="T13" fmla="*/ 243848340 h 1121"/>
              <a:gd name="T14" fmla="*/ 72935457 w 505"/>
              <a:gd name="T15" fmla="*/ 228829514 h 1121"/>
              <a:gd name="T16" fmla="*/ 61861670 w 505"/>
              <a:gd name="T17" fmla="*/ 196334796 h 1121"/>
              <a:gd name="T18" fmla="*/ 56515508 w 505"/>
              <a:gd name="T19" fmla="*/ 191965692 h 1121"/>
              <a:gd name="T20" fmla="*/ 53842646 w 505"/>
              <a:gd name="T21" fmla="*/ 196061498 h 1121"/>
              <a:gd name="T22" fmla="*/ 43150322 w 505"/>
              <a:gd name="T23" fmla="*/ 202615415 h 1121"/>
              <a:gd name="T24" fmla="*/ 32267485 w 505"/>
              <a:gd name="T25" fmla="*/ 200976674 h 1121"/>
              <a:gd name="T26" fmla="*/ 25393723 w 505"/>
              <a:gd name="T27" fmla="*/ 154828573 h 1121"/>
              <a:gd name="T28" fmla="*/ 19284198 w 505"/>
              <a:gd name="T29" fmla="*/ 141994560 h 1121"/>
              <a:gd name="T30" fmla="*/ 9737574 w 505"/>
              <a:gd name="T31" fmla="*/ 137079384 h 1121"/>
              <a:gd name="T32" fmla="*/ 1527600 w 505"/>
              <a:gd name="T33" fmla="*/ 128614474 h 1121"/>
              <a:gd name="T34" fmla="*/ 4391412 w 505"/>
              <a:gd name="T35" fmla="*/ 121514485 h 1121"/>
              <a:gd name="T36" fmla="*/ 11073787 w 505"/>
              <a:gd name="T37" fmla="*/ 98576822 h 1121"/>
              <a:gd name="T38" fmla="*/ 12792337 w 505"/>
              <a:gd name="T39" fmla="*/ 75639158 h 1121"/>
              <a:gd name="T40" fmla="*/ 15274686 w 505"/>
              <a:gd name="T41" fmla="*/ 72362723 h 1121"/>
              <a:gd name="T42" fmla="*/ 21575161 w 505"/>
              <a:gd name="T43" fmla="*/ 70451207 h 1121"/>
              <a:gd name="T44" fmla="*/ 25584673 w 505"/>
              <a:gd name="T45" fmla="*/ 60620855 h 1121"/>
              <a:gd name="T46" fmla="*/ 26730373 w 505"/>
              <a:gd name="T47" fmla="*/ 31948645 h 1121"/>
              <a:gd name="T48" fmla="*/ 30357985 w 505"/>
              <a:gd name="T49" fmla="*/ 26760694 h 1121"/>
              <a:gd name="T50" fmla="*/ 40668409 w 505"/>
              <a:gd name="T51" fmla="*/ 20206777 h 1121"/>
              <a:gd name="T52" fmla="*/ 44677922 w 505"/>
              <a:gd name="T53" fmla="*/ 5734546 h 1121"/>
              <a:gd name="T54" fmla="*/ 52887896 w 505"/>
              <a:gd name="T55" fmla="*/ 8464910 h 1121"/>
              <a:gd name="T56" fmla="*/ 59570271 w 505"/>
              <a:gd name="T57" fmla="*/ 13380086 h 1121"/>
              <a:gd name="T58" fmla="*/ 64343583 w 505"/>
              <a:gd name="T59" fmla="*/ 33314088 h 1121"/>
              <a:gd name="T60" fmla="*/ 63961683 w 505"/>
              <a:gd name="T61" fmla="*/ 45602029 h 1121"/>
              <a:gd name="T62" fmla="*/ 57279308 w 505"/>
              <a:gd name="T63" fmla="*/ 58982114 h 1121"/>
              <a:gd name="T64" fmla="*/ 55942659 w 505"/>
              <a:gd name="T65" fmla="*/ 66901474 h 1121"/>
              <a:gd name="T66" fmla="*/ 58997858 w 505"/>
              <a:gd name="T67" fmla="*/ 71270577 h 1121"/>
              <a:gd name="T68" fmla="*/ 66062133 w 505"/>
              <a:gd name="T69" fmla="*/ 73728166 h 1121"/>
              <a:gd name="T70" fmla="*/ 70835445 w 505"/>
              <a:gd name="T71" fmla="*/ 79462189 h 1121"/>
              <a:gd name="T72" fmla="*/ 75990657 w 505"/>
              <a:gd name="T73" fmla="*/ 94207718 h 1121"/>
              <a:gd name="T74" fmla="*/ 82100182 w 505"/>
              <a:gd name="T75" fmla="*/ 109226544 h 1121"/>
              <a:gd name="T76" fmla="*/ 88592043 w 505"/>
              <a:gd name="T77" fmla="*/ 114141720 h 1121"/>
              <a:gd name="T78" fmla="*/ 96420118 w 505"/>
              <a:gd name="T79" fmla="*/ 114141720 h 1121"/>
              <a:gd name="T80" fmla="*/ 90883006 w 505"/>
              <a:gd name="T81" fmla="*/ 134894571 h 1121"/>
              <a:gd name="T82" fmla="*/ 81527332 w 505"/>
              <a:gd name="T83" fmla="*/ 139263674 h 1121"/>
              <a:gd name="T84" fmla="*/ 73126407 w 505"/>
              <a:gd name="T85" fmla="*/ 144178850 h 1121"/>
              <a:gd name="T86" fmla="*/ 68734995 w 505"/>
              <a:gd name="T87" fmla="*/ 156194016 h 1121"/>
              <a:gd name="T88" fmla="*/ 70644495 w 505"/>
              <a:gd name="T89" fmla="*/ 173943205 h 1121"/>
              <a:gd name="T90" fmla="*/ 76754020 w 505"/>
              <a:gd name="T91" fmla="*/ 186504443 h 1121"/>
              <a:gd name="T92" fmla="*/ 82100182 w 505"/>
              <a:gd name="T93" fmla="*/ 200703899 h 1121"/>
              <a:gd name="T94" fmla="*/ 81718282 w 505"/>
              <a:gd name="T95" fmla="*/ 211899694 h 1121"/>
              <a:gd name="T96" fmla="*/ 80000169 w 505"/>
              <a:gd name="T97" fmla="*/ 218726386 h 1121"/>
              <a:gd name="T98" fmla="*/ 83054931 w 505"/>
              <a:gd name="T99" fmla="*/ 232379247 h 1121"/>
              <a:gd name="T100" fmla="*/ 92219656 w 505"/>
              <a:gd name="T101" fmla="*/ 263509045 h 1121"/>
              <a:gd name="T102" fmla="*/ 87446344 w 505"/>
              <a:gd name="T103" fmla="*/ 295457690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884069" y="5832319"/>
            <a:ext cx="80963" cy="58738"/>
          </a:xfrm>
          <a:custGeom>
            <a:avLst/>
            <a:gdLst>
              <a:gd name="T0" fmla="*/ 36416708 w 180"/>
              <a:gd name="T1" fmla="*/ 1925243 h 112"/>
              <a:gd name="T2" fmla="*/ 34595940 w 180"/>
              <a:gd name="T3" fmla="*/ 6601207 h 112"/>
              <a:gd name="T4" fmla="*/ 32977129 w 180"/>
              <a:gd name="T5" fmla="*/ 10726503 h 112"/>
              <a:gd name="T6" fmla="*/ 30751996 w 180"/>
              <a:gd name="T7" fmla="*/ 14577513 h 112"/>
              <a:gd name="T8" fmla="*/ 28526413 w 180"/>
              <a:gd name="T9" fmla="*/ 18152664 h 112"/>
              <a:gd name="T10" fmla="*/ 26098423 w 180"/>
              <a:gd name="T11" fmla="*/ 22003674 h 112"/>
              <a:gd name="T12" fmla="*/ 23266067 w 180"/>
              <a:gd name="T13" fmla="*/ 25304016 h 112"/>
              <a:gd name="T14" fmla="*/ 20433712 w 180"/>
              <a:gd name="T15" fmla="*/ 28054737 h 112"/>
              <a:gd name="T16" fmla="*/ 17601356 w 180"/>
              <a:gd name="T17" fmla="*/ 30804934 h 112"/>
              <a:gd name="T18" fmla="*/ 16589768 w 180"/>
              <a:gd name="T19" fmla="*/ 29429836 h 112"/>
              <a:gd name="T20" fmla="*/ 15982996 w 180"/>
              <a:gd name="T21" fmla="*/ 27779403 h 112"/>
              <a:gd name="T22" fmla="*/ 15375773 w 180"/>
              <a:gd name="T23" fmla="*/ 26128970 h 112"/>
              <a:gd name="T24" fmla="*/ 14971408 w 180"/>
              <a:gd name="T25" fmla="*/ 24203727 h 112"/>
              <a:gd name="T26" fmla="*/ 14162228 w 180"/>
              <a:gd name="T27" fmla="*/ 22278484 h 112"/>
              <a:gd name="T28" fmla="*/ 13757413 w 180"/>
              <a:gd name="T29" fmla="*/ 20353241 h 112"/>
              <a:gd name="T30" fmla="*/ 13150640 w 180"/>
              <a:gd name="T31" fmla="*/ 18978143 h 112"/>
              <a:gd name="T32" fmla="*/ 12139052 w 180"/>
              <a:gd name="T33" fmla="*/ 17327710 h 112"/>
              <a:gd name="T34" fmla="*/ 9104289 w 180"/>
              <a:gd name="T35" fmla="*/ 13201890 h 112"/>
              <a:gd name="T36" fmla="*/ 7283521 w 180"/>
              <a:gd name="T37" fmla="*/ 10451693 h 112"/>
              <a:gd name="T38" fmla="*/ 6069526 w 180"/>
              <a:gd name="T39" fmla="*/ 9076594 h 112"/>
              <a:gd name="T40" fmla="*/ 5057939 w 180"/>
              <a:gd name="T41" fmla="*/ 8526450 h 112"/>
              <a:gd name="T42" fmla="*/ 3641536 w 180"/>
              <a:gd name="T43" fmla="*/ 8251116 h 112"/>
              <a:gd name="T44" fmla="*/ 0 w 180"/>
              <a:gd name="T45" fmla="*/ 7151352 h 112"/>
              <a:gd name="T46" fmla="*/ 5260346 w 180"/>
              <a:gd name="T47" fmla="*/ 3850486 h 112"/>
              <a:gd name="T48" fmla="*/ 8295109 w 180"/>
              <a:gd name="T49" fmla="*/ 2475387 h 112"/>
              <a:gd name="T50" fmla="*/ 11329422 w 180"/>
              <a:gd name="T51" fmla="*/ 1375099 h 112"/>
              <a:gd name="T52" fmla="*/ 14971408 w 180"/>
              <a:gd name="T53" fmla="*/ 824954 h 112"/>
              <a:gd name="T54" fmla="*/ 18815351 w 180"/>
              <a:gd name="T55" fmla="*/ 274810 h 112"/>
              <a:gd name="T56" fmla="*/ 23064110 w 180"/>
              <a:gd name="T57" fmla="*/ 0 h 112"/>
              <a:gd name="T58" fmla="*/ 27312418 w 180"/>
              <a:gd name="T59" fmla="*/ 274810 h 112"/>
              <a:gd name="T60" fmla="*/ 31763584 w 180"/>
              <a:gd name="T61" fmla="*/ 824954 h 112"/>
              <a:gd name="T62" fmla="*/ 36416708 w 180"/>
              <a:gd name="T63" fmla="*/ 1925243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968207" y="5914869"/>
            <a:ext cx="74612" cy="100013"/>
          </a:xfrm>
          <a:custGeom>
            <a:avLst/>
            <a:gdLst>
              <a:gd name="T0" fmla="*/ 0 w 173"/>
              <a:gd name="T1" fmla="*/ 18450836 h 192"/>
              <a:gd name="T2" fmla="*/ 5022293 w 173"/>
              <a:gd name="T3" fmla="*/ 11396273 h 192"/>
              <a:gd name="T4" fmla="*/ 9486075 w 173"/>
              <a:gd name="T5" fmla="*/ 5698136 h 192"/>
              <a:gd name="T6" fmla="*/ 10416353 w 173"/>
              <a:gd name="T7" fmla="*/ 4341189 h 192"/>
              <a:gd name="T8" fmla="*/ 11718397 w 173"/>
              <a:gd name="T9" fmla="*/ 3256152 h 192"/>
              <a:gd name="T10" fmla="*/ 13020441 w 173"/>
              <a:gd name="T11" fmla="*/ 2170595 h 192"/>
              <a:gd name="T12" fmla="*/ 14136602 w 173"/>
              <a:gd name="T13" fmla="*/ 1627816 h 192"/>
              <a:gd name="T14" fmla="*/ 15438646 w 173"/>
              <a:gd name="T15" fmla="*/ 814168 h 192"/>
              <a:gd name="T16" fmla="*/ 16740259 w 173"/>
              <a:gd name="T17" fmla="*/ 542779 h 192"/>
              <a:gd name="T18" fmla="*/ 18228617 w 173"/>
              <a:gd name="T19" fmla="*/ 271389 h 192"/>
              <a:gd name="T20" fmla="*/ 19902428 w 173"/>
              <a:gd name="T21" fmla="*/ 0 h 192"/>
              <a:gd name="T22" fmla="*/ 21576669 w 173"/>
              <a:gd name="T23" fmla="*/ 271389 h 192"/>
              <a:gd name="T24" fmla="*/ 23064596 w 173"/>
              <a:gd name="T25" fmla="*/ 542779 h 192"/>
              <a:gd name="T26" fmla="*/ 24552523 w 173"/>
              <a:gd name="T27" fmla="*/ 1356947 h 192"/>
              <a:gd name="T28" fmla="*/ 25854567 w 173"/>
              <a:gd name="T29" fmla="*/ 2170595 h 192"/>
              <a:gd name="T30" fmla="*/ 26970729 w 173"/>
              <a:gd name="T31" fmla="*/ 3527542 h 192"/>
              <a:gd name="T32" fmla="*/ 28086890 w 173"/>
              <a:gd name="T33" fmla="*/ 5155358 h 192"/>
              <a:gd name="T34" fmla="*/ 28830853 w 173"/>
              <a:gd name="T35" fmla="*/ 6512305 h 192"/>
              <a:gd name="T36" fmla="*/ 29760700 w 173"/>
              <a:gd name="T37" fmla="*/ 8140121 h 192"/>
              <a:gd name="T38" fmla="*/ 30318780 w 173"/>
              <a:gd name="T39" fmla="*/ 10039326 h 192"/>
              <a:gd name="T40" fmla="*/ 30876861 w 173"/>
              <a:gd name="T41" fmla="*/ 11667662 h 192"/>
              <a:gd name="T42" fmla="*/ 31249058 w 173"/>
              <a:gd name="T43" fmla="*/ 13566868 h 192"/>
              <a:gd name="T44" fmla="*/ 31434941 w 173"/>
              <a:gd name="T45" fmla="*/ 15466073 h 192"/>
              <a:gd name="T46" fmla="*/ 31993022 w 173"/>
              <a:gd name="T47" fmla="*/ 19536394 h 192"/>
              <a:gd name="T48" fmla="*/ 32178905 w 173"/>
              <a:gd name="T49" fmla="*/ 23606193 h 192"/>
              <a:gd name="T50" fmla="*/ 29202619 w 173"/>
              <a:gd name="T51" fmla="*/ 30932667 h 192"/>
              <a:gd name="T52" fmla="*/ 27156612 w 173"/>
              <a:gd name="T53" fmla="*/ 37173061 h 192"/>
              <a:gd name="T54" fmla="*/ 25854567 w 173"/>
              <a:gd name="T55" fmla="*/ 40157824 h 192"/>
              <a:gd name="T56" fmla="*/ 24180757 w 173"/>
              <a:gd name="T57" fmla="*/ 43413976 h 192"/>
              <a:gd name="T58" fmla="*/ 21762552 w 173"/>
              <a:gd name="T59" fmla="*/ 47212908 h 192"/>
              <a:gd name="T60" fmla="*/ 18414500 w 173"/>
              <a:gd name="T61" fmla="*/ 52096876 h 192"/>
              <a:gd name="T62" fmla="*/ 15996295 w 173"/>
              <a:gd name="T63" fmla="*/ 49654892 h 192"/>
              <a:gd name="T64" fmla="*/ 13764405 w 173"/>
              <a:gd name="T65" fmla="*/ 47755687 h 192"/>
              <a:gd name="T66" fmla="*/ 11718397 w 173"/>
              <a:gd name="T67" fmla="*/ 45855961 h 192"/>
              <a:gd name="T68" fmla="*/ 10044155 w 173"/>
              <a:gd name="T69" fmla="*/ 44228145 h 192"/>
              <a:gd name="T70" fmla="*/ 8556228 w 173"/>
              <a:gd name="T71" fmla="*/ 42328940 h 192"/>
              <a:gd name="T72" fmla="*/ 7440067 w 173"/>
              <a:gd name="T73" fmla="*/ 40700603 h 192"/>
              <a:gd name="T74" fmla="*/ 6324337 w 173"/>
              <a:gd name="T75" fmla="*/ 39072787 h 192"/>
              <a:gd name="T76" fmla="*/ 5579943 w 173"/>
              <a:gd name="T77" fmla="*/ 37173061 h 192"/>
              <a:gd name="T78" fmla="*/ 4092015 w 173"/>
              <a:gd name="T79" fmla="*/ 33374651 h 192"/>
              <a:gd name="T80" fmla="*/ 2976286 w 173"/>
              <a:gd name="T81" fmla="*/ 29032940 h 192"/>
              <a:gd name="T82" fmla="*/ 1674242 w 173"/>
              <a:gd name="T83" fmla="*/ 24420362 h 192"/>
              <a:gd name="T84" fmla="*/ 0 w 173"/>
              <a:gd name="T85" fmla="*/ 18450836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4011069" y="5965669"/>
            <a:ext cx="104775" cy="131763"/>
          </a:xfrm>
          <a:custGeom>
            <a:avLst/>
            <a:gdLst>
              <a:gd name="T0" fmla="*/ 14963489 w 233"/>
              <a:gd name="T1" fmla="*/ 0 h 252"/>
              <a:gd name="T2" fmla="*/ 16783336 w 233"/>
              <a:gd name="T3" fmla="*/ 546921 h 252"/>
              <a:gd name="T4" fmla="*/ 17996568 w 233"/>
              <a:gd name="T5" fmla="*/ 820382 h 252"/>
              <a:gd name="T6" fmla="*/ 19209799 w 233"/>
              <a:gd name="T7" fmla="*/ 820382 h 252"/>
              <a:gd name="T8" fmla="*/ 20018770 w 233"/>
              <a:gd name="T9" fmla="*/ 546921 h 252"/>
              <a:gd name="T10" fmla="*/ 21434357 w 233"/>
              <a:gd name="T11" fmla="*/ 273461 h 252"/>
              <a:gd name="T12" fmla="*/ 22849944 w 233"/>
              <a:gd name="T13" fmla="*/ 0 h 252"/>
              <a:gd name="T14" fmla="*/ 25276407 w 233"/>
              <a:gd name="T15" fmla="*/ 4647783 h 252"/>
              <a:gd name="T16" fmla="*/ 28309486 w 233"/>
              <a:gd name="T17" fmla="*/ 10115425 h 252"/>
              <a:gd name="T18" fmla="*/ 29118456 w 233"/>
              <a:gd name="T19" fmla="*/ 11482727 h 252"/>
              <a:gd name="T20" fmla="*/ 29926978 w 233"/>
              <a:gd name="T21" fmla="*/ 12576046 h 252"/>
              <a:gd name="T22" fmla="*/ 30938304 w 233"/>
              <a:gd name="T23" fmla="*/ 13396428 h 252"/>
              <a:gd name="T24" fmla="*/ 31746825 w 233"/>
              <a:gd name="T25" fmla="*/ 14216287 h 252"/>
              <a:gd name="T26" fmla="*/ 32960506 w 233"/>
              <a:gd name="T27" fmla="*/ 14763208 h 252"/>
              <a:gd name="T28" fmla="*/ 33971383 w 233"/>
              <a:gd name="T29" fmla="*/ 15310129 h 252"/>
              <a:gd name="T30" fmla="*/ 35184614 w 233"/>
              <a:gd name="T31" fmla="*/ 15310129 h 252"/>
              <a:gd name="T32" fmla="*/ 36397846 w 233"/>
              <a:gd name="T33" fmla="*/ 15310129 h 252"/>
              <a:gd name="T34" fmla="*/ 36397846 w 233"/>
              <a:gd name="T35" fmla="*/ 21871612 h 252"/>
              <a:gd name="T36" fmla="*/ 39026664 w 233"/>
              <a:gd name="T37" fmla="*/ 28159635 h 252"/>
              <a:gd name="T38" fmla="*/ 42868714 w 233"/>
              <a:gd name="T39" fmla="*/ 34994057 h 252"/>
              <a:gd name="T40" fmla="*/ 43475330 w 233"/>
              <a:gd name="T41" fmla="*/ 36907757 h 252"/>
              <a:gd name="T42" fmla="*/ 44486206 w 233"/>
              <a:gd name="T43" fmla="*/ 38821458 h 252"/>
              <a:gd name="T44" fmla="*/ 45092822 w 233"/>
              <a:gd name="T45" fmla="*/ 41282080 h 252"/>
              <a:gd name="T46" fmla="*/ 45699437 w 233"/>
              <a:gd name="T47" fmla="*/ 43742702 h 252"/>
              <a:gd name="T48" fmla="*/ 46508408 w 233"/>
              <a:gd name="T49" fmla="*/ 46476784 h 252"/>
              <a:gd name="T50" fmla="*/ 46912669 w 233"/>
              <a:gd name="T51" fmla="*/ 49210343 h 252"/>
              <a:gd name="T52" fmla="*/ 47115024 w 233"/>
              <a:gd name="T53" fmla="*/ 52217886 h 252"/>
              <a:gd name="T54" fmla="*/ 47115024 w 233"/>
              <a:gd name="T55" fmla="*/ 55771827 h 252"/>
              <a:gd name="T56" fmla="*/ 46912669 w 233"/>
              <a:gd name="T57" fmla="*/ 59052830 h 252"/>
              <a:gd name="T58" fmla="*/ 46508408 w 233"/>
              <a:gd name="T59" fmla="*/ 62333311 h 252"/>
              <a:gd name="T60" fmla="*/ 45901793 w 233"/>
              <a:gd name="T61" fmla="*/ 65614314 h 252"/>
              <a:gd name="T62" fmla="*/ 45699437 w 233"/>
              <a:gd name="T63" fmla="*/ 68894794 h 252"/>
              <a:gd name="T64" fmla="*/ 44890916 w 233"/>
              <a:gd name="T65" fmla="*/ 68894794 h 252"/>
              <a:gd name="T66" fmla="*/ 43475330 w 233"/>
              <a:gd name="T67" fmla="*/ 68347873 h 252"/>
              <a:gd name="T68" fmla="*/ 42059743 w 233"/>
              <a:gd name="T69" fmla="*/ 67254554 h 252"/>
              <a:gd name="T70" fmla="*/ 40037540 w 233"/>
              <a:gd name="T71" fmla="*/ 65887252 h 252"/>
              <a:gd name="T72" fmla="*/ 35588875 w 233"/>
              <a:gd name="T73" fmla="*/ 61786390 h 252"/>
              <a:gd name="T74" fmla="*/ 30533593 w 233"/>
              <a:gd name="T75" fmla="*/ 56865669 h 252"/>
              <a:gd name="T76" fmla="*/ 25276407 w 233"/>
              <a:gd name="T77" fmla="*/ 50851106 h 252"/>
              <a:gd name="T78" fmla="*/ 20221125 w 233"/>
              <a:gd name="T79" fmla="*/ 45109481 h 252"/>
              <a:gd name="T80" fmla="*/ 15772460 w 233"/>
              <a:gd name="T81" fmla="*/ 39641840 h 252"/>
              <a:gd name="T82" fmla="*/ 12334671 w 233"/>
              <a:gd name="T83" fmla="*/ 35267517 h 252"/>
              <a:gd name="T84" fmla="*/ 11121439 w 233"/>
              <a:gd name="T85" fmla="*/ 34174198 h 252"/>
              <a:gd name="T86" fmla="*/ 9706302 w 233"/>
              <a:gd name="T87" fmla="*/ 32806896 h 252"/>
              <a:gd name="T88" fmla="*/ 8290715 w 233"/>
              <a:gd name="T89" fmla="*/ 31713576 h 252"/>
              <a:gd name="T90" fmla="*/ 6672773 w 233"/>
              <a:gd name="T91" fmla="*/ 30619734 h 252"/>
              <a:gd name="T92" fmla="*/ 3437789 w 233"/>
              <a:gd name="T93" fmla="*/ 28432573 h 252"/>
              <a:gd name="T94" fmla="*/ 0 w 233"/>
              <a:gd name="T95" fmla="*/ 27065793 h 252"/>
              <a:gd name="T96" fmla="*/ 8088360 w 233"/>
              <a:gd name="T97" fmla="*/ 17223829 h 252"/>
              <a:gd name="T98" fmla="*/ 11930410 w 233"/>
              <a:gd name="T99" fmla="*/ 11755665 h 252"/>
              <a:gd name="T100" fmla="*/ 13143642 w 233"/>
              <a:gd name="T101" fmla="*/ 9022105 h 252"/>
              <a:gd name="T102" fmla="*/ 13952612 w 233"/>
              <a:gd name="T103" fmla="*/ 6834944 h 252"/>
              <a:gd name="T104" fmla="*/ 14559228 w 233"/>
              <a:gd name="T105" fmla="*/ 3827401 h 252"/>
              <a:gd name="T106" fmla="*/ 14963489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225382" y="5884707"/>
            <a:ext cx="104775" cy="201612"/>
          </a:xfrm>
          <a:custGeom>
            <a:avLst/>
            <a:gdLst>
              <a:gd name="T0" fmla="*/ 2358289 w 246"/>
              <a:gd name="T1" fmla="*/ 105840994 h 380"/>
              <a:gd name="T2" fmla="*/ 2539729 w 246"/>
              <a:gd name="T3" fmla="*/ 103307580 h 380"/>
              <a:gd name="T4" fmla="*/ 2721169 w 246"/>
              <a:gd name="T5" fmla="*/ 101055362 h 380"/>
              <a:gd name="T6" fmla="*/ 3265062 w 246"/>
              <a:gd name="T7" fmla="*/ 98803675 h 380"/>
              <a:gd name="T8" fmla="*/ 3627941 w 246"/>
              <a:gd name="T9" fmla="*/ 96833182 h 380"/>
              <a:gd name="T10" fmla="*/ 4535139 w 246"/>
              <a:gd name="T11" fmla="*/ 93736847 h 380"/>
              <a:gd name="T12" fmla="*/ 4716579 w 246"/>
              <a:gd name="T13" fmla="*/ 92047550 h 380"/>
              <a:gd name="T14" fmla="*/ 4535139 w 246"/>
              <a:gd name="T15" fmla="*/ 90358784 h 380"/>
              <a:gd name="T16" fmla="*/ 4172260 w 246"/>
              <a:gd name="T17" fmla="*/ 88388292 h 380"/>
              <a:gd name="T18" fmla="*/ 3446501 w 246"/>
              <a:gd name="T19" fmla="*/ 85854879 h 380"/>
              <a:gd name="T20" fmla="*/ 2358289 w 246"/>
              <a:gd name="T21" fmla="*/ 83040269 h 380"/>
              <a:gd name="T22" fmla="*/ 1632531 w 246"/>
              <a:gd name="T23" fmla="*/ 80225129 h 380"/>
              <a:gd name="T24" fmla="*/ 725759 w 246"/>
              <a:gd name="T25" fmla="*/ 77409989 h 380"/>
              <a:gd name="T26" fmla="*/ 181440 w 246"/>
              <a:gd name="T27" fmla="*/ 75158301 h 380"/>
              <a:gd name="T28" fmla="*/ 0 w 246"/>
              <a:gd name="T29" fmla="*/ 72906083 h 380"/>
              <a:gd name="T30" fmla="*/ 181440 w 246"/>
              <a:gd name="T31" fmla="*/ 70654395 h 380"/>
              <a:gd name="T32" fmla="*/ 362879 w 246"/>
              <a:gd name="T33" fmla="*/ 68402707 h 380"/>
              <a:gd name="T34" fmla="*/ 544319 w 246"/>
              <a:gd name="T35" fmla="*/ 66432215 h 380"/>
              <a:gd name="T36" fmla="*/ 1088212 w 246"/>
              <a:gd name="T37" fmla="*/ 64742919 h 380"/>
              <a:gd name="T38" fmla="*/ 1995410 w 246"/>
              <a:gd name="T39" fmla="*/ 61365387 h 380"/>
              <a:gd name="T40" fmla="*/ 3446501 w 246"/>
              <a:gd name="T41" fmla="*/ 58268521 h 380"/>
              <a:gd name="T42" fmla="*/ 4716579 w 246"/>
              <a:gd name="T43" fmla="*/ 55453911 h 380"/>
              <a:gd name="T44" fmla="*/ 6167670 w 246"/>
              <a:gd name="T45" fmla="*/ 52075849 h 380"/>
              <a:gd name="T46" fmla="*/ 7437747 w 246"/>
              <a:gd name="T47" fmla="*/ 48698317 h 380"/>
              <a:gd name="T48" fmla="*/ 8525959 w 246"/>
              <a:gd name="T49" fmla="*/ 45038529 h 380"/>
              <a:gd name="T50" fmla="*/ 4716579 w 246"/>
              <a:gd name="T51" fmla="*/ 20549038 h 380"/>
              <a:gd name="T52" fmla="*/ 4716579 w 246"/>
              <a:gd name="T53" fmla="*/ 14074640 h 380"/>
              <a:gd name="T54" fmla="*/ 4353699 w 246"/>
              <a:gd name="T55" fmla="*/ 9289008 h 380"/>
              <a:gd name="T56" fmla="*/ 4353699 w 246"/>
              <a:gd name="T57" fmla="*/ 7037320 h 380"/>
              <a:gd name="T58" fmla="*/ 4353699 w 246"/>
              <a:gd name="T59" fmla="*/ 4503906 h 380"/>
              <a:gd name="T60" fmla="*/ 4535139 w 246"/>
              <a:gd name="T61" fmla="*/ 2251688 h 380"/>
              <a:gd name="T62" fmla="*/ 4716579 w 246"/>
              <a:gd name="T63" fmla="*/ 0 h 380"/>
              <a:gd name="T64" fmla="*/ 32652745 w 246"/>
              <a:gd name="T65" fmla="*/ 0 h 380"/>
              <a:gd name="T66" fmla="*/ 39908627 w 246"/>
              <a:gd name="T67" fmla="*/ 36312443 h 380"/>
              <a:gd name="T68" fmla="*/ 39908627 w 246"/>
              <a:gd name="T69" fmla="*/ 59113169 h 380"/>
              <a:gd name="T70" fmla="*/ 39908627 w 246"/>
              <a:gd name="T71" fmla="*/ 61928309 h 380"/>
              <a:gd name="T72" fmla="*/ 40090067 w 246"/>
              <a:gd name="T73" fmla="*/ 64742919 h 380"/>
              <a:gd name="T74" fmla="*/ 40452946 w 246"/>
              <a:gd name="T75" fmla="*/ 67558059 h 380"/>
              <a:gd name="T76" fmla="*/ 40815825 w 246"/>
              <a:gd name="T77" fmla="*/ 70372669 h 380"/>
              <a:gd name="T78" fmla="*/ 41360144 w 246"/>
              <a:gd name="T79" fmla="*/ 72906083 h 380"/>
              <a:gd name="T80" fmla="*/ 42448356 w 246"/>
              <a:gd name="T81" fmla="*/ 75440027 h 380"/>
              <a:gd name="T82" fmla="*/ 43355554 w 246"/>
              <a:gd name="T83" fmla="*/ 78254637 h 380"/>
              <a:gd name="T84" fmla="*/ 44625206 w 246"/>
              <a:gd name="T85" fmla="*/ 81350973 h 380"/>
              <a:gd name="T86" fmla="*/ 40634386 w 246"/>
              <a:gd name="T87" fmla="*/ 83040269 h 380"/>
              <a:gd name="T88" fmla="*/ 36643566 w 246"/>
              <a:gd name="T89" fmla="*/ 85010230 h 380"/>
              <a:gd name="T90" fmla="*/ 32834185 w 246"/>
              <a:gd name="T91" fmla="*/ 87262449 h 380"/>
              <a:gd name="T92" fmla="*/ 29024379 w 246"/>
              <a:gd name="T93" fmla="*/ 89795863 h 380"/>
              <a:gd name="T94" fmla="*/ 25577877 w 246"/>
              <a:gd name="T95" fmla="*/ 92329277 h 380"/>
              <a:gd name="T96" fmla="*/ 21768497 w 246"/>
              <a:gd name="T97" fmla="*/ 95144417 h 380"/>
              <a:gd name="T98" fmla="*/ 18140130 w 246"/>
              <a:gd name="T99" fmla="*/ 97677831 h 380"/>
              <a:gd name="T100" fmla="*/ 14512189 w 246"/>
              <a:gd name="T101" fmla="*/ 100774167 h 380"/>
              <a:gd name="T102" fmla="*/ 13605417 w 246"/>
              <a:gd name="T103" fmla="*/ 102181737 h 380"/>
              <a:gd name="T104" fmla="*/ 12516779 w 246"/>
              <a:gd name="T105" fmla="*/ 103307580 h 380"/>
              <a:gd name="T106" fmla="*/ 11247128 w 246"/>
              <a:gd name="T107" fmla="*/ 104715151 h 380"/>
              <a:gd name="T108" fmla="*/ 9795611 w 246"/>
              <a:gd name="T109" fmla="*/ 105840994 h 380"/>
              <a:gd name="T110" fmla="*/ 8344520 w 246"/>
              <a:gd name="T111" fmla="*/ 106685112 h 380"/>
              <a:gd name="T112" fmla="*/ 6530549 w 246"/>
              <a:gd name="T113" fmla="*/ 106966838 h 380"/>
              <a:gd name="T114" fmla="*/ 5623351 w 246"/>
              <a:gd name="T115" fmla="*/ 106966838 h 380"/>
              <a:gd name="T116" fmla="*/ 4535139 w 246"/>
              <a:gd name="T117" fmla="*/ 106685112 h 380"/>
              <a:gd name="T118" fmla="*/ 3627941 w 246"/>
              <a:gd name="T119" fmla="*/ 106403916 h 380"/>
              <a:gd name="T120" fmla="*/ 2358289 w 246"/>
              <a:gd name="T121" fmla="*/ 105840994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877719" y="5800569"/>
            <a:ext cx="87313" cy="58738"/>
          </a:xfrm>
          <a:custGeom>
            <a:avLst/>
            <a:gdLst>
              <a:gd name="T0" fmla="*/ 1432748 w 193"/>
              <a:gd name="T1" fmla="*/ 47786454 h 38"/>
              <a:gd name="T2" fmla="*/ 7777191 w 193"/>
              <a:gd name="T3" fmla="*/ 26282164 h 38"/>
              <a:gd name="T4" fmla="*/ 13712665 w 193"/>
              <a:gd name="T5" fmla="*/ 11947000 h 38"/>
              <a:gd name="T6" fmla="*/ 16373223 w 193"/>
              <a:gd name="T7" fmla="*/ 7167582 h 38"/>
              <a:gd name="T8" fmla="*/ 19238718 w 193"/>
              <a:gd name="T9" fmla="*/ 4777873 h 38"/>
              <a:gd name="T10" fmla="*/ 22513182 w 193"/>
              <a:gd name="T11" fmla="*/ 2389709 h 38"/>
              <a:gd name="T12" fmla="*/ 25787646 w 193"/>
              <a:gd name="T13" fmla="*/ 0 h 38"/>
              <a:gd name="T14" fmla="*/ 28243720 w 193"/>
              <a:gd name="T15" fmla="*/ 2389709 h 38"/>
              <a:gd name="T16" fmla="*/ 30494857 w 193"/>
              <a:gd name="T17" fmla="*/ 2389709 h 38"/>
              <a:gd name="T18" fmla="*/ 32746447 w 193"/>
              <a:gd name="T19" fmla="*/ 4777873 h 38"/>
              <a:gd name="T20" fmla="*/ 34588163 w 193"/>
              <a:gd name="T21" fmla="*/ 9557291 h 38"/>
              <a:gd name="T22" fmla="*/ 36430331 w 193"/>
              <a:gd name="T23" fmla="*/ 14335163 h 38"/>
              <a:gd name="T24" fmla="*/ 37658142 w 193"/>
              <a:gd name="T25" fmla="*/ 26282164 h 38"/>
              <a:gd name="T26" fmla="*/ 38272500 w 193"/>
              <a:gd name="T27" fmla="*/ 31061582 h 38"/>
              <a:gd name="T28" fmla="*/ 38681469 w 193"/>
              <a:gd name="T29" fmla="*/ 43007036 h 38"/>
              <a:gd name="T30" fmla="*/ 39090890 w 193"/>
              <a:gd name="T31" fmla="*/ 50174618 h 38"/>
              <a:gd name="T32" fmla="*/ 39500311 w 193"/>
              <a:gd name="T33" fmla="*/ 62121618 h 38"/>
              <a:gd name="T34" fmla="*/ 37453658 w 193"/>
              <a:gd name="T35" fmla="*/ 64511327 h 38"/>
              <a:gd name="T36" fmla="*/ 35407005 w 193"/>
              <a:gd name="T37" fmla="*/ 66901036 h 38"/>
              <a:gd name="T38" fmla="*/ 33769773 w 193"/>
              <a:gd name="T39" fmla="*/ 66901036 h 38"/>
              <a:gd name="T40" fmla="*/ 31927604 w 193"/>
              <a:gd name="T41" fmla="*/ 66901036 h 38"/>
              <a:gd name="T42" fmla="*/ 28243720 w 193"/>
              <a:gd name="T43" fmla="*/ 64511327 h 38"/>
              <a:gd name="T44" fmla="*/ 24559835 w 193"/>
              <a:gd name="T45" fmla="*/ 62121618 h 38"/>
              <a:gd name="T46" fmla="*/ 21080435 w 193"/>
              <a:gd name="T47" fmla="*/ 62121618 h 38"/>
              <a:gd name="T48" fmla="*/ 18215392 w 193"/>
              <a:gd name="T49" fmla="*/ 66901036 h 38"/>
              <a:gd name="T50" fmla="*/ 15554381 w 193"/>
              <a:gd name="T51" fmla="*/ 71678909 h 38"/>
              <a:gd name="T52" fmla="*/ 12893823 w 193"/>
              <a:gd name="T53" fmla="*/ 76458327 h 38"/>
              <a:gd name="T54" fmla="*/ 10028780 w 193"/>
              <a:gd name="T55" fmla="*/ 81236200 h 38"/>
              <a:gd name="T56" fmla="*/ 7163285 w 193"/>
              <a:gd name="T57" fmla="*/ 86015618 h 38"/>
              <a:gd name="T58" fmla="*/ 3888821 w 193"/>
              <a:gd name="T59" fmla="*/ 88403781 h 38"/>
              <a:gd name="T60" fmla="*/ 0 w 193"/>
              <a:gd name="T61" fmla="*/ 90793491 h 38"/>
              <a:gd name="T62" fmla="*/ 0 w 193"/>
              <a:gd name="T63" fmla="*/ 78846491 h 38"/>
              <a:gd name="T64" fmla="*/ 204484 w 193"/>
              <a:gd name="T65" fmla="*/ 69289200 h 38"/>
              <a:gd name="T66" fmla="*/ 613905 w 193"/>
              <a:gd name="T67" fmla="*/ 57343745 h 38"/>
              <a:gd name="T68" fmla="*/ 1432748 w 193"/>
              <a:gd name="T69" fmla="*/ 47786454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303169" y="5878357"/>
            <a:ext cx="42863" cy="155575"/>
          </a:xfrm>
          <a:custGeom>
            <a:avLst/>
            <a:gdLst>
              <a:gd name="T0" fmla="*/ 9935124 w 99"/>
              <a:gd name="T1" fmla="*/ 3205569 h 301"/>
              <a:gd name="T2" fmla="*/ 11059953 w 99"/>
              <a:gd name="T3" fmla="*/ 3205569 h 301"/>
              <a:gd name="T4" fmla="*/ 11059953 w 99"/>
              <a:gd name="T5" fmla="*/ 5075570 h 301"/>
              <a:gd name="T6" fmla="*/ 11621934 w 99"/>
              <a:gd name="T7" fmla="*/ 6945571 h 301"/>
              <a:gd name="T8" fmla="*/ 11809406 w 99"/>
              <a:gd name="T9" fmla="*/ 8815572 h 301"/>
              <a:gd name="T10" fmla="*/ 12371820 w 99"/>
              <a:gd name="T11" fmla="*/ 11220007 h 301"/>
              <a:gd name="T12" fmla="*/ 13496649 w 99"/>
              <a:gd name="T13" fmla="*/ 15494443 h 301"/>
              <a:gd name="T14" fmla="*/ 14808950 w 99"/>
              <a:gd name="T15" fmla="*/ 20036096 h 301"/>
              <a:gd name="T16" fmla="*/ 16308289 w 99"/>
              <a:gd name="T17" fmla="*/ 24844449 h 301"/>
              <a:gd name="T18" fmla="*/ 17433118 w 99"/>
              <a:gd name="T19" fmla="*/ 29653319 h 301"/>
              <a:gd name="T20" fmla="*/ 17995533 w 99"/>
              <a:gd name="T21" fmla="*/ 32057237 h 301"/>
              <a:gd name="T22" fmla="*/ 18370476 w 99"/>
              <a:gd name="T23" fmla="*/ 34461672 h 301"/>
              <a:gd name="T24" fmla="*/ 18557947 w 99"/>
              <a:gd name="T25" fmla="*/ 36866106 h 301"/>
              <a:gd name="T26" fmla="*/ 18557947 w 99"/>
              <a:gd name="T27" fmla="*/ 39537241 h 301"/>
              <a:gd name="T28" fmla="*/ 18557947 w 99"/>
              <a:gd name="T29" fmla="*/ 77204998 h 301"/>
              <a:gd name="T30" fmla="*/ 16683232 w 99"/>
              <a:gd name="T31" fmla="*/ 77472215 h 301"/>
              <a:gd name="T32" fmla="*/ 14996422 w 99"/>
              <a:gd name="T33" fmla="*/ 78273349 h 301"/>
              <a:gd name="T34" fmla="*/ 13684121 w 99"/>
              <a:gd name="T35" fmla="*/ 79342216 h 301"/>
              <a:gd name="T36" fmla="*/ 12371820 w 99"/>
              <a:gd name="T37" fmla="*/ 80410567 h 301"/>
              <a:gd name="T38" fmla="*/ 11059953 w 99"/>
              <a:gd name="T39" fmla="*/ 77472215 h 301"/>
              <a:gd name="T40" fmla="*/ 10122595 w 99"/>
              <a:gd name="T41" fmla="*/ 74800563 h 301"/>
              <a:gd name="T42" fmla="*/ 8997766 w 99"/>
              <a:gd name="T43" fmla="*/ 72396128 h 301"/>
              <a:gd name="T44" fmla="*/ 8435352 w 99"/>
              <a:gd name="T45" fmla="*/ 69991694 h 301"/>
              <a:gd name="T46" fmla="*/ 8060409 w 99"/>
              <a:gd name="T47" fmla="*/ 67320559 h 301"/>
              <a:gd name="T48" fmla="*/ 7685466 w 99"/>
              <a:gd name="T49" fmla="*/ 64648907 h 301"/>
              <a:gd name="T50" fmla="*/ 7497994 w 99"/>
              <a:gd name="T51" fmla="*/ 61977772 h 301"/>
              <a:gd name="T52" fmla="*/ 7497994 w 99"/>
              <a:gd name="T53" fmla="*/ 59306120 h 301"/>
              <a:gd name="T54" fmla="*/ 7497994 w 99"/>
              <a:gd name="T55" fmla="*/ 37667240 h 301"/>
              <a:gd name="T56" fmla="*/ 0 w 99"/>
              <a:gd name="T57" fmla="*/ 1602784 h 301"/>
              <a:gd name="T58" fmla="*/ 937358 w 99"/>
              <a:gd name="T59" fmla="*/ 534434 h 301"/>
              <a:gd name="T60" fmla="*/ 1874715 w 99"/>
              <a:gd name="T61" fmla="*/ 0 h 301"/>
              <a:gd name="T62" fmla="*/ 2624168 w 99"/>
              <a:gd name="T63" fmla="*/ 0 h 301"/>
              <a:gd name="T64" fmla="*/ 3748997 w 99"/>
              <a:gd name="T65" fmla="*/ 0 h 301"/>
              <a:gd name="T66" fmla="*/ 4873826 w 99"/>
              <a:gd name="T67" fmla="*/ 0 h 301"/>
              <a:gd name="T68" fmla="*/ 5998655 w 99"/>
              <a:gd name="T69" fmla="*/ 534434 h 301"/>
              <a:gd name="T70" fmla="*/ 6936013 w 99"/>
              <a:gd name="T71" fmla="*/ 1068351 h 301"/>
              <a:gd name="T72" fmla="*/ 7685466 w 99"/>
              <a:gd name="T73" fmla="*/ 1602784 h 301"/>
              <a:gd name="T74" fmla="*/ 8810295 w 99"/>
              <a:gd name="T75" fmla="*/ 2671652 h 301"/>
              <a:gd name="T76" fmla="*/ 9935124 w 99"/>
              <a:gd name="T77" fmla="*/ 3205569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328569" y="5840257"/>
            <a:ext cx="76200" cy="188912"/>
          </a:xfrm>
          <a:custGeom>
            <a:avLst/>
            <a:gdLst>
              <a:gd name="T0" fmla="*/ 0 w 173"/>
              <a:gd name="T1" fmla="*/ 22401153 h 357"/>
              <a:gd name="T2" fmla="*/ 1745993 w 173"/>
              <a:gd name="T3" fmla="*/ 20161197 h 357"/>
              <a:gd name="T4" fmla="*/ 3298183 w 173"/>
              <a:gd name="T5" fmla="*/ 18201168 h 357"/>
              <a:gd name="T6" fmla="*/ 4850372 w 173"/>
              <a:gd name="T7" fmla="*/ 16800997 h 357"/>
              <a:gd name="T8" fmla="*/ 6402121 w 173"/>
              <a:gd name="T9" fmla="*/ 15680754 h 357"/>
              <a:gd name="T10" fmla="*/ 7760067 w 173"/>
              <a:gd name="T11" fmla="*/ 14000655 h 357"/>
              <a:gd name="T12" fmla="*/ 12998487 w 173"/>
              <a:gd name="T13" fmla="*/ 14000655 h 357"/>
              <a:gd name="T14" fmla="*/ 18236466 w 173"/>
              <a:gd name="T15" fmla="*/ 0 h 357"/>
              <a:gd name="T16" fmla="*/ 19594852 w 173"/>
              <a:gd name="T17" fmla="*/ 839785 h 357"/>
              <a:gd name="T18" fmla="*/ 20952798 w 173"/>
              <a:gd name="T19" fmla="*/ 1960028 h 357"/>
              <a:gd name="T20" fmla="*/ 22504987 w 173"/>
              <a:gd name="T21" fmla="*/ 3360199 h 357"/>
              <a:gd name="T22" fmla="*/ 23862933 w 173"/>
              <a:gd name="T23" fmla="*/ 5040299 h 357"/>
              <a:gd name="T24" fmla="*/ 25415123 w 173"/>
              <a:gd name="T25" fmla="*/ 6160542 h 357"/>
              <a:gd name="T26" fmla="*/ 26966872 w 173"/>
              <a:gd name="T27" fmla="*/ 7560184 h 357"/>
              <a:gd name="T28" fmla="*/ 28131014 w 173"/>
              <a:gd name="T29" fmla="*/ 8120570 h 357"/>
              <a:gd name="T30" fmla="*/ 29683203 w 173"/>
              <a:gd name="T31" fmla="*/ 8400499 h 357"/>
              <a:gd name="T32" fmla="*/ 31623000 w 173"/>
              <a:gd name="T33" fmla="*/ 10920384 h 357"/>
              <a:gd name="T34" fmla="*/ 33563237 w 173"/>
              <a:gd name="T35" fmla="*/ 14000655 h 357"/>
              <a:gd name="T36" fmla="*/ 33563237 w 173"/>
              <a:gd name="T37" fmla="*/ 17080926 h 357"/>
              <a:gd name="T38" fmla="*/ 33563237 w 173"/>
              <a:gd name="T39" fmla="*/ 19320882 h 357"/>
              <a:gd name="T40" fmla="*/ 33563237 w 173"/>
              <a:gd name="T41" fmla="*/ 22401153 h 357"/>
              <a:gd name="T42" fmla="*/ 33563237 w 173"/>
              <a:gd name="T43" fmla="*/ 27441452 h 357"/>
              <a:gd name="T44" fmla="*/ 33563237 w 173"/>
              <a:gd name="T45" fmla="*/ 30521723 h 357"/>
              <a:gd name="T46" fmla="*/ 33175190 w 173"/>
              <a:gd name="T47" fmla="*/ 33042138 h 357"/>
              <a:gd name="T48" fmla="*/ 32399095 w 173"/>
              <a:gd name="T49" fmla="*/ 35562023 h 357"/>
              <a:gd name="T50" fmla="*/ 31623000 w 173"/>
              <a:gd name="T51" fmla="*/ 37801979 h 357"/>
              <a:gd name="T52" fmla="*/ 29488960 w 173"/>
              <a:gd name="T53" fmla="*/ 42282421 h 357"/>
              <a:gd name="T54" fmla="*/ 27161116 w 173"/>
              <a:gd name="T55" fmla="*/ 46762864 h 357"/>
              <a:gd name="T56" fmla="*/ 24832831 w 173"/>
              <a:gd name="T57" fmla="*/ 51242777 h 357"/>
              <a:gd name="T58" fmla="*/ 22698791 w 173"/>
              <a:gd name="T59" fmla="*/ 56003148 h 357"/>
              <a:gd name="T60" fmla="*/ 21728892 w 173"/>
              <a:gd name="T61" fmla="*/ 58523562 h 357"/>
              <a:gd name="T62" fmla="*/ 21146601 w 173"/>
              <a:gd name="T63" fmla="*/ 61323375 h 357"/>
              <a:gd name="T64" fmla="*/ 20952798 w 173"/>
              <a:gd name="T65" fmla="*/ 64123718 h 357"/>
              <a:gd name="T66" fmla="*/ 20758554 w 173"/>
              <a:gd name="T67" fmla="*/ 67203989 h 357"/>
              <a:gd name="T68" fmla="*/ 20952798 w 173"/>
              <a:gd name="T69" fmla="*/ 76444273 h 357"/>
              <a:gd name="T70" fmla="*/ 21146601 w 173"/>
              <a:gd name="T71" fmla="*/ 82044429 h 357"/>
              <a:gd name="T72" fmla="*/ 21340845 w 173"/>
              <a:gd name="T73" fmla="*/ 84564843 h 357"/>
              <a:gd name="T74" fmla="*/ 21146601 w 173"/>
              <a:gd name="T75" fmla="*/ 87645114 h 357"/>
              <a:gd name="T76" fmla="*/ 21146601 w 173"/>
              <a:gd name="T77" fmla="*/ 91565170 h 357"/>
              <a:gd name="T78" fmla="*/ 20758554 w 173"/>
              <a:gd name="T79" fmla="*/ 96605469 h 357"/>
              <a:gd name="T80" fmla="*/ 18818757 w 173"/>
              <a:gd name="T81" fmla="*/ 96885398 h 357"/>
              <a:gd name="T82" fmla="*/ 17072764 w 173"/>
              <a:gd name="T83" fmla="*/ 97165326 h 357"/>
              <a:gd name="T84" fmla="*/ 15326771 w 173"/>
              <a:gd name="T85" fmla="*/ 97725712 h 357"/>
              <a:gd name="T86" fmla="*/ 13774582 w 173"/>
              <a:gd name="T87" fmla="*/ 98285569 h 357"/>
              <a:gd name="T88" fmla="*/ 12222392 w 173"/>
              <a:gd name="T89" fmla="*/ 98845426 h 357"/>
              <a:gd name="T90" fmla="*/ 10670202 w 173"/>
              <a:gd name="T91" fmla="*/ 99405812 h 357"/>
              <a:gd name="T92" fmla="*/ 9312257 w 173"/>
              <a:gd name="T93" fmla="*/ 99965669 h 357"/>
              <a:gd name="T94" fmla="*/ 7760067 w 173"/>
              <a:gd name="T95" fmla="*/ 99965669 h 357"/>
              <a:gd name="T96" fmla="*/ 7760067 w 173"/>
              <a:gd name="T97" fmla="*/ 60483590 h 357"/>
              <a:gd name="T98" fmla="*/ 7760067 w 173"/>
              <a:gd name="T99" fmla="*/ 57683247 h 357"/>
              <a:gd name="T100" fmla="*/ 7566264 w 173"/>
              <a:gd name="T101" fmla="*/ 55163362 h 357"/>
              <a:gd name="T102" fmla="*/ 7178216 w 173"/>
              <a:gd name="T103" fmla="*/ 52642948 h 357"/>
              <a:gd name="T104" fmla="*/ 6596365 w 173"/>
              <a:gd name="T105" fmla="*/ 50123063 h 357"/>
              <a:gd name="T106" fmla="*/ 5432223 w 173"/>
              <a:gd name="T107" fmla="*/ 45082764 h 357"/>
              <a:gd name="T108" fmla="*/ 3880034 w 173"/>
              <a:gd name="T109" fmla="*/ 40042465 h 357"/>
              <a:gd name="T110" fmla="*/ 2522088 w 173"/>
              <a:gd name="T111" fmla="*/ 35282094 h 357"/>
              <a:gd name="T112" fmla="*/ 1357946 w 173"/>
              <a:gd name="T113" fmla="*/ 30801652 h 357"/>
              <a:gd name="T114" fmla="*/ 776095 w 173"/>
              <a:gd name="T115" fmla="*/ 28281767 h 357"/>
              <a:gd name="T116" fmla="*/ 581851 w 173"/>
              <a:gd name="T117" fmla="*/ 26321739 h 357"/>
              <a:gd name="T118" fmla="*/ 0 w 173"/>
              <a:gd name="T119" fmla="*/ 24361181 h 357"/>
              <a:gd name="T120" fmla="*/ 0 w 173"/>
              <a:gd name="T121" fmla="*/ 2240115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5057232" y="7045169"/>
            <a:ext cx="25400" cy="60325"/>
          </a:xfrm>
          <a:custGeom>
            <a:avLst/>
            <a:gdLst>
              <a:gd name="T0" fmla="*/ 2580640 w 50"/>
              <a:gd name="T1" fmla="*/ 0 h 74"/>
              <a:gd name="T2" fmla="*/ 1548384 w 50"/>
              <a:gd name="T3" fmla="*/ 9303908 h 74"/>
              <a:gd name="T4" fmla="*/ 516128 w 50"/>
              <a:gd name="T5" fmla="*/ 17278221 h 74"/>
              <a:gd name="T6" fmla="*/ 0 w 50"/>
              <a:gd name="T7" fmla="*/ 23923754 h 74"/>
              <a:gd name="T8" fmla="*/ 0 w 50"/>
              <a:gd name="T9" fmla="*/ 28576116 h 74"/>
              <a:gd name="T10" fmla="*/ 0 w 50"/>
              <a:gd name="T11" fmla="*/ 33227662 h 74"/>
              <a:gd name="T12" fmla="*/ 516128 w 50"/>
              <a:gd name="T13" fmla="*/ 37214819 h 74"/>
              <a:gd name="T14" fmla="*/ 1548384 w 50"/>
              <a:gd name="T15" fmla="*/ 40537585 h 74"/>
              <a:gd name="T16" fmla="*/ 2580640 w 50"/>
              <a:gd name="T17" fmla="*/ 45189947 h 74"/>
              <a:gd name="T18" fmla="*/ 12903200 w 50"/>
              <a:gd name="T19" fmla="*/ 49177103 h 74"/>
              <a:gd name="T20" fmla="*/ 12903200 w 50"/>
              <a:gd name="T21" fmla="*/ 33892052 h 74"/>
              <a:gd name="T22" fmla="*/ 12903200 w 50"/>
              <a:gd name="T23" fmla="*/ 22594973 h 74"/>
              <a:gd name="T24" fmla="*/ 12903200 w 50"/>
              <a:gd name="T25" fmla="*/ 12626675 h 74"/>
              <a:gd name="T26" fmla="*/ 12903200 w 50"/>
              <a:gd name="T27" fmla="*/ 0 h 74"/>
              <a:gd name="T28" fmla="*/ 9806432 w 50"/>
              <a:gd name="T29" fmla="*/ 0 h 74"/>
              <a:gd name="T30" fmla="*/ 6451600 w 50"/>
              <a:gd name="T31" fmla="*/ 0 h 74"/>
              <a:gd name="T32" fmla="*/ 3612896 w 50"/>
              <a:gd name="T33" fmla="*/ 0 h 74"/>
              <a:gd name="T34" fmla="*/ 258064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952457" y="7142007"/>
            <a:ext cx="61912" cy="57150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170194" y="4856007"/>
            <a:ext cx="120650" cy="171450"/>
          </a:xfrm>
          <a:custGeom>
            <a:avLst/>
            <a:gdLst>
              <a:gd name="T0" fmla="*/ 49374425 w 266"/>
              <a:gd name="T1" fmla="*/ 2489181 h 326"/>
              <a:gd name="T2" fmla="*/ 49374425 w 266"/>
              <a:gd name="T3" fmla="*/ 7744702 h 326"/>
              <a:gd name="T4" fmla="*/ 51225904 w 266"/>
              <a:gd name="T5" fmla="*/ 11617052 h 326"/>
              <a:gd name="T6" fmla="*/ 50403125 w 266"/>
              <a:gd name="T7" fmla="*/ 15212769 h 326"/>
              <a:gd name="T8" fmla="*/ 46288779 w 266"/>
              <a:gd name="T9" fmla="*/ 13829599 h 326"/>
              <a:gd name="T10" fmla="*/ 43202679 w 266"/>
              <a:gd name="T11" fmla="*/ 14106233 h 326"/>
              <a:gd name="T12" fmla="*/ 40116579 w 266"/>
              <a:gd name="T13" fmla="*/ 17978584 h 326"/>
              <a:gd name="T14" fmla="*/ 39705189 w 266"/>
              <a:gd name="T15" fmla="*/ 21574300 h 326"/>
              <a:gd name="T16" fmla="*/ 40733889 w 266"/>
              <a:gd name="T17" fmla="*/ 24616749 h 326"/>
              <a:gd name="T18" fmla="*/ 44231379 w 266"/>
              <a:gd name="T19" fmla="*/ 30425012 h 326"/>
              <a:gd name="T20" fmla="*/ 46082857 w 266"/>
              <a:gd name="T21" fmla="*/ 33744095 h 326"/>
              <a:gd name="T22" fmla="*/ 46288779 w 266"/>
              <a:gd name="T23" fmla="*/ 36786543 h 326"/>
              <a:gd name="T24" fmla="*/ 45671468 w 266"/>
              <a:gd name="T25" fmla="*/ 39552884 h 326"/>
              <a:gd name="T26" fmla="*/ 42585368 w 266"/>
              <a:gd name="T27" fmla="*/ 42595333 h 326"/>
              <a:gd name="T28" fmla="*/ 41145279 w 266"/>
              <a:gd name="T29" fmla="*/ 44254611 h 326"/>
              <a:gd name="T30" fmla="*/ 37236400 w 266"/>
              <a:gd name="T31" fmla="*/ 45914415 h 326"/>
              <a:gd name="T32" fmla="*/ 33739364 w 266"/>
              <a:gd name="T33" fmla="*/ 49233498 h 326"/>
              <a:gd name="T34" fmla="*/ 32916132 w 266"/>
              <a:gd name="T35" fmla="*/ 52829215 h 326"/>
              <a:gd name="T36" fmla="*/ 35590843 w 266"/>
              <a:gd name="T37" fmla="*/ 57254308 h 326"/>
              <a:gd name="T38" fmla="*/ 38882411 w 266"/>
              <a:gd name="T39" fmla="*/ 59467380 h 326"/>
              <a:gd name="T40" fmla="*/ 44025457 w 266"/>
              <a:gd name="T41" fmla="*/ 62786463 h 326"/>
              <a:gd name="T42" fmla="*/ 50403125 w 266"/>
              <a:gd name="T43" fmla="*/ 71637174 h 326"/>
              <a:gd name="T44" fmla="*/ 51637293 w 266"/>
              <a:gd name="T45" fmla="*/ 78828608 h 326"/>
              <a:gd name="T46" fmla="*/ 45260079 w 266"/>
              <a:gd name="T47" fmla="*/ 80488412 h 326"/>
              <a:gd name="T48" fmla="*/ 42585368 w 266"/>
              <a:gd name="T49" fmla="*/ 82424325 h 326"/>
              <a:gd name="T50" fmla="*/ 40733889 w 266"/>
              <a:gd name="T51" fmla="*/ 86296675 h 326"/>
              <a:gd name="T52" fmla="*/ 38882411 w 266"/>
              <a:gd name="T53" fmla="*/ 90169026 h 326"/>
              <a:gd name="T54" fmla="*/ 34973532 w 266"/>
              <a:gd name="T55" fmla="*/ 88785856 h 326"/>
              <a:gd name="T56" fmla="*/ 34356221 w 266"/>
              <a:gd name="T57" fmla="*/ 87403212 h 326"/>
              <a:gd name="T58" fmla="*/ 31681964 w 266"/>
              <a:gd name="T59" fmla="*/ 85743407 h 326"/>
              <a:gd name="T60" fmla="*/ 28595864 w 266"/>
              <a:gd name="T61" fmla="*/ 83254227 h 326"/>
              <a:gd name="T62" fmla="*/ 25921607 w 266"/>
              <a:gd name="T63" fmla="*/ 81594422 h 326"/>
              <a:gd name="T64" fmla="*/ 20161250 w 266"/>
              <a:gd name="T65" fmla="*/ 80211778 h 326"/>
              <a:gd name="T66" fmla="*/ 12960804 w 266"/>
              <a:gd name="T67" fmla="*/ 76616061 h 326"/>
              <a:gd name="T68" fmla="*/ 11109325 w 266"/>
              <a:gd name="T69" fmla="*/ 74126881 h 326"/>
              <a:gd name="T70" fmla="*/ 11314793 w 266"/>
              <a:gd name="T71" fmla="*/ 70807798 h 326"/>
              <a:gd name="T72" fmla="*/ 14400893 w 266"/>
              <a:gd name="T73" fmla="*/ 67488715 h 326"/>
              <a:gd name="T74" fmla="*/ 12138025 w 266"/>
              <a:gd name="T75" fmla="*/ 61126658 h 326"/>
              <a:gd name="T76" fmla="*/ 6994525 w 266"/>
              <a:gd name="T77" fmla="*/ 53659117 h 326"/>
              <a:gd name="T78" fmla="*/ 2674257 w 266"/>
              <a:gd name="T79" fmla="*/ 50339508 h 326"/>
              <a:gd name="T80" fmla="*/ 822779 w 266"/>
              <a:gd name="T81" fmla="*/ 47297060 h 326"/>
              <a:gd name="T82" fmla="*/ 3908879 w 266"/>
              <a:gd name="T83" fmla="*/ 42042064 h 326"/>
              <a:gd name="T84" fmla="*/ 11109325 w 266"/>
              <a:gd name="T85" fmla="*/ 34297363 h 326"/>
              <a:gd name="T86" fmla="*/ 15018204 w 266"/>
              <a:gd name="T87" fmla="*/ 29042368 h 326"/>
              <a:gd name="T88" fmla="*/ 18103850 w 266"/>
              <a:gd name="T89" fmla="*/ 25446651 h 326"/>
              <a:gd name="T90" fmla="*/ 22630039 w 266"/>
              <a:gd name="T91" fmla="*/ 24340115 h 326"/>
              <a:gd name="T92" fmla="*/ 29624564 w 266"/>
              <a:gd name="T93" fmla="*/ 19361228 h 326"/>
              <a:gd name="T94" fmla="*/ 34562143 w 266"/>
              <a:gd name="T95" fmla="*/ 12723063 h 326"/>
              <a:gd name="T96" fmla="*/ 39293800 w 266"/>
              <a:gd name="T97" fmla="*/ 5808263 h 326"/>
              <a:gd name="T98" fmla="*/ 45260079 w 266"/>
              <a:gd name="T99" fmla="*/ 1106536 h 326"/>
              <a:gd name="T100" fmla="*/ 48963036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241507" y="5270344"/>
            <a:ext cx="206375" cy="123825"/>
          </a:xfrm>
          <a:custGeom>
            <a:avLst/>
            <a:gdLst>
              <a:gd name="T0" fmla="*/ 16510876 w 471"/>
              <a:gd name="T1" fmla="*/ 0 h 237"/>
              <a:gd name="T2" fmla="*/ 17662808 w 471"/>
              <a:gd name="T3" fmla="*/ 1910667 h 237"/>
              <a:gd name="T4" fmla="*/ 19582840 w 471"/>
              <a:gd name="T5" fmla="*/ 3548605 h 237"/>
              <a:gd name="T6" fmla="*/ 23998214 w 471"/>
              <a:gd name="T7" fmla="*/ 6278502 h 237"/>
              <a:gd name="T8" fmla="*/ 30525973 w 471"/>
              <a:gd name="T9" fmla="*/ 10099836 h 237"/>
              <a:gd name="T10" fmla="*/ 42812954 w 471"/>
              <a:gd name="T11" fmla="*/ 21018902 h 237"/>
              <a:gd name="T12" fmla="*/ 48572613 w 471"/>
              <a:gd name="T13" fmla="*/ 26478174 h 237"/>
              <a:gd name="T14" fmla="*/ 54332272 w 471"/>
              <a:gd name="T15" fmla="*/ 30846009 h 237"/>
              <a:gd name="T16" fmla="*/ 60668116 w 471"/>
              <a:gd name="T17" fmla="*/ 34667343 h 237"/>
              <a:gd name="T18" fmla="*/ 68155453 w 471"/>
              <a:gd name="T19" fmla="*/ 37943219 h 237"/>
              <a:gd name="T20" fmla="*/ 76602807 w 471"/>
              <a:gd name="T21" fmla="*/ 39853886 h 237"/>
              <a:gd name="T22" fmla="*/ 86586362 w 471"/>
              <a:gd name="T23" fmla="*/ 40399866 h 237"/>
              <a:gd name="T24" fmla="*/ 86778278 w 471"/>
              <a:gd name="T25" fmla="*/ 51046203 h 237"/>
              <a:gd name="T26" fmla="*/ 88122125 w 471"/>
              <a:gd name="T27" fmla="*/ 57597434 h 237"/>
              <a:gd name="T28" fmla="*/ 89657888 w 471"/>
              <a:gd name="T29" fmla="*/ 61964747 h 237"/>
              <a:gd name="T30" fmla="*/ 89657888 w 471"/>
              <a:gd name="T31" fmla="*/ 64421916 h 237"/>
              <a:gd name="T32" fmla="*/ 86586362 w 471"/>
              <a:gd name="T33" fmla="*/ 64421916 h 237"/>
              <a:gd name="T34" fmla="*/ 79866687 w 471"/>
              <a:gd name="T35" fmla="*/ 63056706 h 237"/>
              <a:gd name="T36" fmla="*/ 69499301 w 471"/>
              <a:gd name="T37" fmla="*/ 59781352 h 237"/>
              <a:gd name="T38" fmla="*/ 60475762 w 471"/>
              <a:gd name="T39" fmla="*/ 56505475 h 237"/>
              <a:gd name="T40" fmla="*/ 56444220 w 471"/>
              <a:gd name="T41" fmla="*/ 55413516 h 237"/>
              <a:gd name="T42" fmla="*/ 55100372 w 471"/>
              <a:gd name="T43" fmla="*/ 54321557 h 237"/>
              <a:gd name="T44" fmla="*/ 53180340 w 471"/>
              <a:gd name="T45" fmla="*/ 51864911 h 237"/>
              <a:gd name="T46" fmla="*/ 51260746 w 471"/>
              <a:gd name="T47" fmla="*/ 48589034 h 237"/>
              <a:gd name="T48" fmla="*/ 48956882 w 471"/>
              <a:gd name="T49" fmla="*/ 45313680 h 237"/>
              <a:gd name="T50" fmla="*/ 46076834 w 471"/>
              <a:gd name="T51" fmla="*/ 43402491 h 237"/>
              <a:gd name="T52" fmla="*/ 43581054 w 471"/>
              <a:gd name="T53" fmla="*/ 43402491 h 237"/>
              <a:gd name="T54" fmla="*/ 39357597 w 471"/>
              <a:gd name="T55" fmla="*/ 44494450 h 237"/>
              <a:gd name="T56" fmla="*/ 35133701 w 471"/>
              <a:gd name="T57" fmla="*/ 45586409 h 237"/>
              <a:gd name="T58" fmla="*/ 32446006 w 471"/>
              <a:gd name="T59" fmla="*/ 45859660 h 237"/>
              <a:gd name="T60" fmla="*/ 30334058 w 471"/>
              <a:gd name="T61" fmla="*/ 44767701 h 237"/>
              <a:gd name="T62" fmla="*/ 28414025 w 471"/>
              <a:gd name="T63" fmla="*/ 42311055 h 237"/>
              <a:gd name="T64" fmla="*/ 26686347 w 471"/>
              <a:gd name="T65" fmla="*/ 40399866 h 237"/>
              <a:gd name="T66" fmla="*/ 23422467 w 471"/>
              <a:gd name="T67" fmla="*/ 39581158 h 237"/>
              <a:gd name="T68" fmla="*/ 17662808 w 471"/>
              <a:gd name="T69" fmla="*/ 36851260 h 237"/>
              <a:gd name="T70" fmla="*/ 9215454 w 471"/>
              <a:gd name="T71" fmla="*/ 31937968 h 237"/>
              <a:gd name="T72" fmla="*/ 2303864 w 471"/>
              <a:gd name="T73" fmla="*/ 26205445 h 237"/>
              <a:gd name="T74" fmla="*/ 13438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457407" y="5325907"/>
            <a:ext cx="73025" cy="65087"/>
          </a:xfrm>
          <a:custGeom>
            <a:avLst/>
            <a:gdLst>
              <a:gd name="T0" fmla="*/ 31932040 w 167"/>
              <a:gd name="T1" fmla="*/ 12040566 h 123"/>
              <a:gd name="T2" fmla="*/ 31358334 w 167"/>
              <a:gd name="T3" fmla="*/ 15120821 h 123"/>
              <a:gd name="T4" fmla="*/ 30784629 w 167"/>
              <a:gd name="T5" fmla="*/ 18481004 h 123"/>
              <a:gd name="T6" fmla="*/ 29637655 w 167"/>
              <a:gd name="T7" fmla="*/ 22121113 h 123"/>
              <a:gd name="T8" fmla="*/ 28681334 w 167"/>
              <a:gd name="T9" fmla="*/ 26041150 h 123"/>
              <a:gd name="T10" fmla="*/ 27916539 w 167"/>
              <a:gd name="T11" fmla="*/ 27721241 h 123"/>
              <a:gd name="T12" fmla="*/ 27151744 w 167"/>
              <a:gd name="T13" fmla="*/ 29401332 h 123"/>
              <a:gd name="T14" fmla="*/ 26386950 w 167"/>
              <a:gd name="T15" fmla="*/ 30801497 h 123"/>
              <a:gd name="T16" fmla="*/ 25239539 w 167"/>
              <a:gd name="T17" fmla="*/ 31921734 h 123"/>
              <a:gd name="T18" fmla="*/ 24283655 w 167"/>
              <a:gd name="T19" fmla="*/ 33041442 h 123"/>
              <a:gd name="T20" fmla="*/ 23136244 w 167"/>
              <a:gd name="T21" fmla="*/ 33881752 h 123"/>
              <a:gd name="T22" fmla="*/ 21989271 w 167"/>
              <a:gd name="T23" fmla="*/ 34161679 h 123"/>
              <a:gd name="T24" fmla="*/ 20459244 w 167"/>
              <a:gd name="T25" fmla="*/ 34441606 h 123"/>
              <a:gd name="T26" fmla="*/ 19121181 w 167"/>
              <a:gd name="T27" fmla="*/ 34161679 h 123"/>
              <a:gd name="T28" fmla="*/ 17591154 w 167"/>
              <a:gd name="T29" fmla="*/ 33321369 h 123"/>
              <a:gd name="T30" fmla="*/ 16635270 w 167"/>
              <a:gd name="T31" fmla="*/ 32481588 h 123"/>
              <a:gd name="T32" fmla="*/ 16061565 w 167"/>
              <a:gd name="T33" fmla="*/ 31641278 h 123"/>
              <a:gd name="T34" fmla="*/ 15679386 w 167"/>
              <a:gd name="T35" fmla="*/ 30521570 h 123"/>
              <a:gd name="T36" fmla="*/ 15487859 w 167"/>
              <a:gd name="T37" fmla="*/ 29401332 h 123"/>
              <a:gd name="T38" fmla="*/ 13576091 w 167"/>
              <a:gd name="T39" fmla="*/ 29121405 h 123"/>
              <a:gd name="T40" fmla="*/ 11663885 w 167"/>
              <a:gd name="T41" fmla="*/ 28841478 h 123"/>
              <a:gd name="T42" fmla="*/ 9751680 w 167"/>
              <a:gd name="T43" fmla="*/ 28281095 h 123"/>
              <a:gd name="T44" fmla="*/ 7839474 w 167"/>
              <a:gd name="T45" fmla="*/ 27441314 h 123"/>
              <a:gd name="T46" fmla="*/ 4015500 w 167"/>
              <a:gd name="T47" fmla="*/ 25761223 h 123"/>
              <a:gd name="T48" fmla="*/ 0 w 167"/>
              <a:gd name="T49" fmla="*/ 24081132 h 123"/>
              <a:gd name="T50" fmla="*/ 382616 w 167"/>
              <a:gd name="T51" fmla="*/ 21561259 h 123"/>
              <a:gd name="T52" fmla="*/ 955884 w 167"/>
              <a:gd name="T53" fmla="*/ 18760931 h 123"/>
              <a:gd name="T54" fmla="*/ 1720679 w 167"/>
              <a:gd name="T55" fmla="*/ 15680675 h 123"/>
              <a:gd name="T56" fmla="*/ 2868090 w 167"/>
              <a:gd name="T57" fmla="*/ 12040566 h 123"/>
              <a:gd name="T58" fmla="*/ 3824411 w 167"/>
              <a:gd name="T59" fmla="*/ 12040566 h 123"/>
              <a:gd name="T60" fmla="*/ 4971385 w 167"/>
              <a:gd name="T61" fmla="*/ 11760639 h 123"/>
              <a:gd name="T62" fmla="*/ 5736179 w 167"/>
              <a:gd name="T63" fmla="*/ 11480712 h 123"/>
              <a:gd name="T64" fmla="*/ 6309885 w 167"/>
              <a:gd name="T65" fmla="*/ 10640402 h 123"/>
              <a:gd name="T66" fmla="*/ 7648385 w 167"/>
              <a:gd name="T67" fmla="*/ 9240237 h 123"/>
              <a:gd name="T68" fmla="*/ 8604269 w 167"/>
              <a:gd name="T69" fmla="*/ 7280219 h 123"/>
              <a:gd name="T70" fmla="*/ 9942769 w 167"/>
              <a:gd name="T71" fmla="*/ 3360183 h 123"/>
              <a:gd name="T72" fmla="*/ 11663885 w 167"/>
              <a:gd name="T73" fmla="*/ 0 h 123"/>
              <a:gd name="T74" fmla="*/ 12237591 w 167"/>
              <a:gd name="T75" fmla="*/ 1120237 h 123"/>
              <a:gd name="T76" fmla="*/ 12810859 w 167"/>
              <a:gd name="T77" fmla="*/ 1960018 h 123"/>
              <a:gd name="T78" fmla="*/ 13958270 w 167"/>
              <a:gd name="T79" fmla="*/ 3080256 h 123"/>
              <a:gd name="T80" fmla="*/ 14914154 w 167"/>
              <a:gd name="T81" fmla="*/ 3920037 h 123"/>
              <a:gd name="T82" fmla="*/ 17591154 w 167"/>
              <a:gd name="T83" fmla="*/ 5880055 h 123"/>
              <a:gd name="T84" fmla="*/ 20459244 w 167"/>
              <a:gd name="T85" fmla="*/ 7840602 h 123"/>
              <a:gd name="T86" fmla="*/ 23327771 w 167"/>
              <a:gd name="T87" fmla="*/ 9800621 h 123"/>
              <a:gd name="T88" fmla="*/ 26578039 w 167"/>
              <a:gd name="T89" fmla="*/ 10920329 h 123"/>
              <a:gd name="T90" fmla="*/ 29255039 w 167"/>
              <a:gd name="T91" fmla="*/ 11760639 h 123"/>
              <a:gd name="T92" fmla="*/ 31932040 w 167"/>
              <a:gd name="T93" fmla="*/ 12040566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447882" y="5397344"/>
            <a:ext cx="133350" cy="166688"/>
          </a:xfrm>
          <a:custGeom>
            <a:avLst/>
            <a:gdLst>
              <a:gd name="T0" fmla="*/ 49186104 w 306"/>
              <a:gd name="T1" fmla="*/ 43143632 h 321"/>
              <a:gd name="T2" fmla="*/ 47856962 w 306"/>
              <a:gd name="T3" fmla="*/ 46649273 h 321"/>
              <a:gd name="T4" fmla="*/ 46147816 w 306"/>
              <a:gd name="T5" fmla="*/ 49075855 h 321"/>
              <a:gd name="T6" fmla="*/ 44248668 w 306"/>
              <a:gd name="T7" fmla="*/ 50154913 h 321"/>
              <a:gd name="T8" fmla="*/ 42349520 w 306"/>
              <a:gd name="T9" fmla="*/ 49615384 h 321"/>
              <a:gd name="T10" fmla="*/ 40640374 w 306"/>
              <a:gd name="T11" fmla="*/ 47997316 h 321"/>
              <a:gd name="T12" fmla="*/ 39690800 w 306"/>
              <a:gd name="T13" fmla="*/ 45570734 h 321"/>
              <a:gd name="T14" fmla="*/ 39121229 w 306"/>
              <a:gd name="T15" fmla="*/ 43143632 h 321"/>
              <a:gd name="T16" fmla="*/ 39690800 w 306"/>
              <a:gd name="T17" fmla="*/ 39908015 h 321"/>
              <a:gd name="T18" fmla="*/ 40450372 w 306"/>
              <a:gd name="T19" fmla="*/ 36672399 h 321"/>
              <a:gd name="T20" fmla="*/ 43678662 w 306"/>
              <a:gd name="T21" fmla="*/ 30740175 h 321"/>
              <a:gd name="T22" fmla="*/ 46717386 w 306"/>
              <a:gd name="T23" fmla="*/ 25077457 h 321"/>
              <a:gd name="T24" fmla="*/ 47476958 w 306"/>
              <a:gd name="T25" fmla="*/ 22111345 h 321"/>
              <a:gd name="T26" fmla="*/ 48046528 w 306"/>
              <a:gd name="T27" fmla="*/ 18605704 h 321"/>
              <a:gd name="T28" fmla="*/ 24498051 w 306"/>
              <a:gd name="T29" fmla="*/ 18336199 h 321"/>
              <a:gd name="T30" fmla="*/ 22598903 w 306"/>
              <a:gd name="T31" fmla="*/ 15909097 h 321"/>
              <a:gd name="T32" fmla="*/ 21269761 w 306"/>
              <a:gd name="T33" fmla="*/ 12133952 h 321"/>
              <a:gd name="T34" fmla="*/ 20510189 w 306"/>
              <a:gd name="T35" fmla="*/ 7550291 h 321"/>
              <a:gd name="T36" fmla="*/ 19180611 w 306"/>
              <a:gd name="T37" fmla="*/ 5123189 h 321"/>
              <a:gd name="T38" fmla="*/ 17091897 w 306"/>
              <a:gd name="T39" fmla="*/ 4584180 h 321"/>
              <a:gd name="T40" fmla="*/ 15192749 w 306"/>
              <a:gd name="T41" fmla="*/ 3235617 h 321"/>
              <a:gd name="T42" fmla="*/ 14243175 w 306"/>
              <a:gd name="T43" fmla="*/ 1078539 h 321"/>
              <a:gd name="T44" fmla="*/ 12344026 w 306"/>
              <a:gd name="T45" fmla="*/ 0 h 321"/>
              <a:gd name="T46" fmla="*/ 9305302 w 306"/>
              <a:gd name="T47" fmla="*/ 0 h 321"/>
              <a:gd name="T48" fmla="*/ 6457016 w 306"/>
              <a:gd name="T49" fmla="*/ 269505 h 321"/>
              <a:gd name="T50" fmla="*/ 4177864 w 306"/>
              <a:gd name="T51" fmla="*/ 1348044 h 321"/>
              <a:gd name="T52" fmla="*/ 1899148 w 306"/>
              <a:gd name="T53" fmla="*/ 3775146 h 321"/>
              <a:gd name="T54" fmla="*/ 190002 w 306"/>
              <a:gd name="T55" fmla="*/ 6741257 h 321"/>
              <a:gd name="T56" fmla="*/ 380004 w 306"/>
              <a:gd name="T57" fmla="*/ 9437864 h 321"/>
              <a:gd name="T58" fmla="*/ 2848722 w 306"/>
              <a:gd name="T59" fmla="*/ 12403976 h 321"/>
              <a:gd name="T60" fmla="*/ 6646582 w 306"/>
              <a:gd name="T61" fmla="*/ 15639592 h 321"/>
              <a:gd name="T62" fmla="*/ 10254876 w 306"/>
              <a:gd name="T63" fmla="*/ 18066694 h 321"/>
              <a:gd name="T64" fmla="*/ 8925734 w 306"/>
              <a:gd name="T65" fmla="*/ 21302311 h 321"/>
              <a:gd name="T66" fmla="*/ 4747870 w 306"/>
              <a:gd name="T67" fmla="*/ 26155996 h 321"/>
              <a:gd name="T68" fmla="*/ 3228290 w 306"/>
              <a:gd name="T69" fmla="*/ 28852602 h 321"/>
              <a:gd name="T70" fmla="*/ 2658720 w 306"/>
              <a:gd name="T71" fmla="*/ 30740175 h 321"/>
              <a:gd name="T72" fmla="*/ 2658720 w 306"/>
              <a:gd name="T73" fmla="*/ 32897253 h 321"/>
              <a:gd name="T74" fmla="*/ 3418292 w 306"/>
              <a:gd name="T75" fmla="*/ 34784826 h 321"/>
              <a:gd name="T76" fmla="*/ 5317440 w 306"/>
              <a:gd name="T77" fmla="*/ 38020442 h 321"/>
              <a:gd name="T78" fmla="*/ 8925734 w 306"/>
              <a:gd name="T79" fmla="*/ 42065093 h 321"/>
              <a:gd name="T80" fmla="*/ 12154025 w 306"/>
              <a:gd name="T81" fmla="*/ 44222171 h 321"/>
              <a:gd name="T82" fmla="*/ 14243175 w 306"/>
              <a:gd name="T83" fmla="*/ 44761700 h 321"/>
              <a:gd name="T84" fmla="*/ 20320187 w 306"/>
              <a:gd name="T85" fmla="*/ 73074773 h 321"/>
              <a:gd name="T86" fmla="*/ 20510189 w 306"/>
              <a:gd name="T87" fmla="*/ 70917695 h 321"/>
              <a:gd name="T88" fmla="*/ 21269761 w 306"/>
              <a:gd name="T89" fmla="*/ 69030122 h 321"/>
              <a:gd name="T90" fmla="*/ 24118483 w 306"/>
              <a:gd name="T91" fmla="*/ 66333516 h 321"/>
              <a:gd name="T92" fmla="*/ 28106345 w 306"/>
              <a:gd name="T93" fmla="*/ 64715967 h 321"/>
              <a:gd name="T94" fmla="*/ 33043781 w 306"/>
              <a:gd name="T95" fmla="*/ 63367404 h 321"/>
              <a:gd name="T96" fmla="*/ 33043781 w 306"/>
              <a:gd name="T97" fmla="*/ 56626146 h 321"/>
              <a:gd name="T98" fmla="*/ 34753363 w 306"/>
              <a:gd name="T99" fmla="*/ 57165676 h 321"/>
              <a:gd name="T100" fmla="*/ 36652075 w 306"/>
              <a:gd name="T101" fmla="*/ 57165676 h 321"/>
              <a:gd name="T102" fmla="*/ 40450372 w 306"/>
              <a:gd name="T103" fmla="*/ 56626146 h 321"/>
              <a:gd name="T104" fmla="*/ 44058666 w 306"/>
              <a:gd name="T105" fmla="*/ 70378166 h 321"/>
              <a:gd name="T106" fmla="*/ 49186104 w 306"/>
              <a:gd name="T107" fmla="*/ 86557288 h 321"/>
              <a:gd name="T108" fmla="*/ 51654822 w 306"/>
              <a:gd name="T109" fmla="*/ 83860681 h 321"/>
              <a:gd name="T110" fmla="*/ 53553970 w 306"/>
              <a:gd name="T111" fmla="*/ 81434098 h 321"/>
              <a:gd name="T112" fmla="*/ 56022688 w 306"/>
              <a:gd name="T113" fmla="*/ 75501875 h 321"/>
              <a:gd name="T114" fmla="*/ 58111838 w 306"/>
              <a:gd name="T115" fmla="*/ 63367404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765382" y="5513232"/>
            <a:ext cx="201612" cy="269875"/>
          </a:xfrm>
          <a:custGeom>
            <a:avLst/>
            <a:gdLst>
              <a:gd name="T0" fmla="*/ 17223486 w 471"/>
              <a:gd name="T1" fmla="*/ 3257256 h 518"/>
              <a:gd name="T2" fmla="*/ 12276073 w 471"/>
              <a:gd name="T3" fmla="*/ 8686015 h 518"/>
              <a:gd name="T4" fmla="*/ 7329088 w 471"/>
              <a:gd name="T5" fmla="*/ 13300461 h 518"/>
              <a:gd name="T6" fmla="*/ 4946985 w 471"/>
              <a:gd name="T7" fmla="*/ 22257915 h 518"/>
              <a:gd name="T8" fmla="*/ 1465646 w 471"/>
              <a:gd name="T9" fmla="*/ 32029161 h 518"/>
              <a:gd name="T10" fmla="*/ 1282441 w 471"/>
              <a:gd name="T11" fmla="*/ 36915045 h 518"/>
              <a:gd name="T12" fmla="*/ 5497030 w 471"/>
              <a:gd name="T13" fmla="*/ 41529490 h 518"/>
              <a:gd name="T14" fmla="*/ 9161575 w 471"/>
              <a:gd name="T15" fmla="*/ 45601060 h 518"/>
              <a:gd name="T16" fmla="*/ 11360044 w 471"/>
              <a:gd name="T17" fmla="*/ 46686812 h 518"/>
              <a:gd name="T18" fmla="*/ 13742148 w 471"/>
              <a:gd name="T19" fmla="*/ 57272893 h 518"/>
              <a:gd name="T20" fmla="*/ 15391000 w 471"/>
              <a:gd name="T21" fmla="*/ 73830089 h 518"/>
              <a:gd name="T22" fmla="*/ 17223486 w 471"/>
              <a:gd name="T23" fmla="*/ 81158915 h 518"/>
              <a:gd name="T24" fmla="*/ 19055544 w 471"/>
              <a:gd name="T25" fmla="*/ 81973229 h 518"/>
              <a:gd name="T26" fmla="*/ 20521619 w 471"/>
              <a:gd name="T27" fmla="*/ 80616039 h 518"/>
              <a:gd name="T28" fmla="*/ 23453340 w 471"/>
              <a:gd name="T29" fmla="*/ 72744337 h 518"/>
              <a:gd name="T30" fmla="*/ 26567839 w 471"/>
              <a:gd name="T31" fmla="*/ 71115709 h 518"/>
              <a:gd name="T32" fmla="*/ 29316354 w 471"/>
              <a:gd name="T33" fmla="*/ 73830089 h 518"/>
              <a:gd name="T34" fmla="*/ 31698457 w 471"/>
              <a:gd name="T35" fmla="*/ 75187279 h 518"/>
              <a:gd name="T36" fmla="*/ 33530515 w 471"/>
              <a:gd name="T37" fmla="*/ 74372965 h 518"/>
              <a:gd name="T38" fmla="*/ 35179796 w 471"/>
              <a:gd name="T39" fmla="*/ 70301917 h 518"/>
              <a:gd name="T40" fmla="*/ 37195060 w 471"/>
              <a:gd name="T41" fmla="*/ 66230347 h 518"/>
              <a:gd name="T42" fmla="*/ 38844340 w 471"/>
              <a:gd name="T43" fmla="*/ 65416033 h 518"/>
              <a:gd name="T44" fmla="*/ 44157737 w 471"/>
              <a:gd name="T45" fmla="*/ 67044661 h 518"/>
              <a:gd name="T46" fmla="*/ 47455869 w 471"/>
              <a:gd name="T47" fmla="*/ 73558651 h 518"/>
              <a:gd name="T48" fmla="*/ 56434238 w 471"/>
              <a:gd name="T49" fmla="*/ 91202120 h 518"/>
              <a:gd name="T50" fmla="*/ 62480458 w 471"/>
              <a:gd name="T51" fmla="*/ 103688267 h 518"/>
              <a:gd name="T52" fmla="*/ 65595385 w 471"/>
              <a:gd name="T53" fmla="*/ 113731473 h 518"/>
              <a:gd name="T54" fmla="*/ 67061459 w 471"/>
              <a:gd name="T55" fmla="*/ 124045595 h 518"/>
              <a:gd name="T56" fmla="*/ 65778590 w 471"/>
              <a:gd name="T57" fmla="*/ 127574289 h 518"/>
              <a:gd name="T58" fmla="*/ 62114046 w 471"/>
              <a:gd name="T59" fmla="*/ 132188735 h 518"/>
              <a:gd name="T60" fmla="*/ 66511414 w 471"/>
              <a:gd name="T61" fmla="*/ 134631676 h 518"/>
              <a:gd name="T62" fmla="*/ 71825238 w 471"/>
              <a:gd name="T63" fmla="*/ 140603312 h 518"/>
              <a:gd name="T64" fmla="*/ 73474090 w 471"/>
              <a:gd name="T65" fmla="*/ 135445990 h 518"/>
              <a:gd name="T66" fmla="*/ 75672988 w 471"/>
              <a:gd name="T67" fmla="*/ 132731611 h 518"/>
              <a:gd name="T68" fmla="*/ 81353224 w 471"/>
              <a:gd name="T69" fmla="*/ 131102983 h 518"/>
              <a:gd name="T70" fmla="*/ 85750592 w 471"/>
              <a:gd name="T71" fmla="*/ 118888273 h 518"/>
              <a:gd name="T72" fmla="*/ 82269253 w 471"/>
              <a:gd name="T73" fmla="*/ 105045457 h 518"/>
              <a:gd name="T74" fmla="*/ 77138635 w 471"/>
              <a:gd name="T75" fmla="*/ 94187938 h 518"/>
              <a:gd name="T76" fmla="*/ 63213709 w 471"/>
              <a:gd name="T77" fmla="*/ 75187279 h 518"/>
              <a:gd name="T78" fmla="*/ 51120413 w 471"/>
              <a:gd name="T79" fmla="*/ 59172959 h 518"/>
              <a:gd name="T80" fmla="*/ 41042810 w 471"/>
              <a:gd name="T81" fmla="*/ 43972432 h 518"/>
              <a:gd name="T82" fmla="*/ 32797692 w 471"/>
              <a:gd name="T83" fmla="*/ 28500467 h 518"/>
              <a:gd name="T84" fmla="*/ 23269706 w 471"/>
              <a:gd name="T85" fmla="*/ 10857519 h 518"/>
              <a:gd name="T86" fmla="*/ 21071236 w 471"/>
              <a:gd name="T87" fmla="*/ 3800132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847932" y="5764057"/>
            <a:ext cx="133350" cy="130175"/>
          </a:xfrm>
          <a:custGeom>
            <a:avLst/>
            <a:gdLst>
              <a:gd name="T0" fmla="*/ 31484254 w 293"/>
              <a:gd name="T1" fmla="*/ 5320242 h 246"/>
              <a:gd name="T2" fmla="*/ 37076761 w 293"/>
              <a:gd name="T3" fmla="*/ 8400521 h 246"/>
              <a:gd name="T4" fmla="*/ 40598021 w 293"/>
              <a:gd name="T5" fmla="*/ 8400521 h 246"/>
              <a:gd name="T6" fmla="*/ 41840952 w 293"/>
              <a:gd name="T7" fmla="*/ 5040313 h 246"/>
              <a:gd name="T8" fmla="*/ 43498042 w 293"/>
              <a:gd name="T9" fmla="*/ 2800350 h 246"/>
              <a:gd name="T10" fmla="*/ 45362211 w 293"/>
              <a:gd name="T11" fmla="*/ 1680104 h 246"/>
              <a:gd name="T12" fmla="*/ 50747640 w 293"/>
              <a:gd name="T13" fmla="*/ 559858 h 246"/>
              <a:gd name="T14" fmla="*/ 60690179 w 293"/>
              <a:gd name="T15" fmla="*/ 22401213 h 246"/>
              <a:gd name="T16" fmla="*/ 55097671 w 293"/>
              <a:gd name="T17" fmla="*/ 29961946 h 246"/>
              <a:gd name="T18" fmla="*/ 49090550 w 293"/>
              <a:gd name="T19" fmla="*/ 39482713 h 246"/>
              <a:gd name="T20" fmla="*/ 46605142 w 293"/>
              <a:gd name="T21" fmla="*/ 44523025 h 246"/>
              <a:gd name="T22" fmla="*/ 44533894 w 293"/>
              <a:gd name="T23" fmla="*/ 49843267 h 246"/>
              <a:gd name="T24" fmla="*/ 43290962 w 293"/>
              <a:gd name="T25" fmla="*/ 55163508 h 246"/>
              <a:gd name="T26" fmla="*/ 42669724 w 293"/>
              <a:gd name="T27" fmla="*/ 60483750 h 246"/>
              <a:gd name="T28" fmla="*/ 40598021 w 293"/>
              <a:gd name="T29" fmla="*/ 60763679 h 246"/>
              <a:gd name="T30" fmla="*/ 38526772 w 293"/>
              <a:gd name="T31" fmla="*/ 61603996 h 246"/>
              <a:gd name="T32" fmla="*/ 35212592 w 293"/>
              <a:gd name="T33" fmla="*/ 64123887 h 246"/>
              <a:gd name="T34" fmla="*/ 31898412 w 293"/>
              <a:gd name="T35" fmla="*/ 66924237 h 246"/>
              <a:gd name="T36" fmla="*/ 27548836 w 293"/>
              <a:gd name="T37" fmla="*/ 68884271 h 246"/>
              <a:gd name="T38" fmla="*/ 21127555 w 293"/>
              <a:gd name="T39" fmla="*/ 67204167 h 246"/>
              <a:gd name="T40" fmla="*/ 14706275 w 293"/>
              <a:gd name="T41" fmla="*/ 64964204 h 246"/>
              <a:gd name="T42" fmla="*/ 12220868 w 293"/>
              <a:gd name="T43" fmla="*/ 63284100 h 246"/>
              <a:gd name="T44" fmla="*/ 10149619 w 293"/>
              <a:gd name="T45" fmla="*/ 61603996 h 246"/>
              <a:gd name="T46" fmla="*/ 8906688 w 293"/>
              <a:gd name="T47" fmla="*/ 59363504 h 246"/>
              <a:gd name="T48" fmla="*/ 8492529 w 293"/>
              <a:gd name="T49" fmla="*/ 57123542 h 246"/>
              <a:gd name="T50" fmla="*/ 9735460 w 293"/>
              <a:gd name="T51" fmla="*/ 49843267 h 246"/>
              <a:gd name="T52" fmla="*/ 9320846 w 293"/>
              <a:gd name="T53" fmla="*/ 45362813 h 246"/>
              <a:gd name="T54" fmla="*/ 8285450 w 293"/>
              <a:gd name="T55" fmla="*/ 41162817 h 246"/>
              <a:gd name="T56" fmla="*/ 4971270 w 293"/>
              <a:gd name="T57" fmla="*/ 33322154 h 246"/>
              <a:gd name="T58" fmla="*/ 1657090 w 293"/>
              <a:gd name="T59" fmla="*/ 25481492 h 246"/>
              <a:gd name="T60" fmla="*/ 414159 w 293"/>
              <a:gd name="T61" fmla="*/ 20721108 h 246"/>
              <a:gd name="T62" fmla="*/ 0 w 293"/>
              <a:gd name="T63" fmla="*/ 15400867 h 246"/>
              <a:gd name="T64" fmla="*/ 414159 w 293"/>
              <a:gd name="T65" fmla="*/ 12601046 h 246"/>
              <a:gd name="T66" fmla="*/ 1657090 w 293"/>
              <a:gd name="T67" fmla="*/ 10080625 h 246"/>
              <a:gd name="T68" fmla="*/ 3521259 w 293"/>
              <a:gd name="T69" fmla="*/ 8120592 h 246"/>
              <a:gd name="T70" fmla="*/ 5385428 w 293"/>
              <a:gd name="T71" fmla="*/ 6160558 h 246"/>
              <a:gd name="T72" fmla="*/ 9942540 w 293"/>
              <a:gd name="T73" fmla="*/ 3920067 h 246"/>
              <a:gd name="T74" fmla="*/ 13877958 w 293"/>
              <a:gd name="T75" fmla="*/ 3360208 h 246"/>
              <a:gd name="T76" fmla="*/ 19884624 w 293"/>
              <a:gd name="T77" fmla="*/ 3360208 h 246"/>
              <a:gd name="T78" fmla="*/ 27548836 w 293"/>
              <a:gd name="T79" fmla="*/ 3360208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249569" y="5000469"/>
            <a:ext cx="85725" cy="130175"/>
          </a:xfrm>
          <a:custGeom>
            <a:avLst/>
            <a:gdLst>
              <a:gd name="T0" fmla="*/ 3306842 w 200"/>
              <a:gd name="T1" fmla="*/ 11480800 h 246"/>
              <a:gd name="T2" fmla="*/ 5144357 w 200"/>
              <a:gd name="T3" fmla="*/ 7280275 h 246"/>
              <a:gd name="T4" fmla="*/ 6981444 w 200"/>
              <a:gd name="T5" fmla="*/ 4480454 h 246"/>
              <a:gd name="T6" fmla="*/ 9185862 w 200"/>
              <a:gd name="T7" fmla="*/ 2520421 h 246"/>
              <a:gd name="T8" fmla="*/ 13411676 w 200"/>
              <a:gd name="T9" fmla="*/ 279929 h 246"/>
              <a:gd name="T10" fmla="*/ 16167306 w 200"/>
              <a:gd name="T11" fmla="*/ 3360208 h 246"/>
              <a:gd name="T12" fmla="*/ 19841909 w 200"/>
              <a:gd name="T13" fmla="*/ 9520767 h 246"/>
              <a:gd name="T14" fmla="*/ 22964870 w 200"/>
              <a:gd name="T15" fmla="*/ 14000692 h 246"/>
              <a:gd name="T16" fmla="*/ 25537049 w 200"/>
              <a:gd name="T17" fmla="*/ 16241183 h 246"/>
              <a:gd name="T18" fmla="*/ 27925347 w 200"/>
              <a:gd name="T19" fmla="*/ 17921288 h 246"/>
              <a:gd name="T20" fmla="*/ 30497526 w 200"/>
              <a:gd name="T21" fmla="*/ 18761075 h 246"/>
              <a:gd name="T22" fmla="*/ 33804368 w 200"/>
              <a:gd name="T23" fmla="*/ 26881667 h 246"/>
              <a:gd name="T24" fmla="*/ 35825335 w 200"/>
              <a:gd name="T25" fmla="*/ 38362467 h 246"/>
              <a:gd name="T26" fmla="*/ 36559998 w 200"/>
              <a:gd name="T27" fmla="*/ 46203129 h 246"/>
              <a:gd name="T28" fmla="*/ 36743878 w 200"/>
              <a:gd name="T29" fmla="*/ 51803300 h 246"/>
              <a:gd name="T30" fmla="*/ 36376547 w 200"/>
              <a:gd name="T31" fmla="*/ 55163508 h 246"/>
              <a:gd name="T32" fmla="*/ 35825335 w 200"/>
              <a:gd name="T33" fmla="*/ 57963329 h 246"/>
              <a:gd name="T34" fmla="*/ 34722911 w 200"/>
              <a:gd name="T35" fmla="*/ 59923892 h 246"/>
              <a:gd name="T36" fmla="*/ 32885825 w 200"/>
              <a:gd name="T37" fmla="*/ 61603996 h 246"/>
              <a:gd name="T38" fmla="*/ 30130194 w 200"/>
              <a:gd name="T39" fmla="*/ 62723712 h 246"/>
              <a:gd name="T40" fmla="*/ 25720929 w 200"/>
              <a:gd name="T41" fmla="*/ 62723712 h 246"/>
              <a:gd name="T42" fmla="*/ 21678995 w 200"/>
              <a:gd name="T43" fmla="*/ 64123887 h 246"/>
              <a:gd name="T44" fmla="*/ 20392692 w 200"/>
              <a:gd name="T45" fmla="*/ 65803992 h 246"/>
              <a:gd name="T46" fmla="*/ 19841909 w 200"/>
              <a:gd name="T47" fmla="*/ 67764025 h 246"/>
              <a:gd name="T48" fmla="*/ 18004393 w 200"/>
              <a:gd name="T49" fmla="*/ 68604342 h 246"/>
              <a:gd name="T50" fmla="*/ 15616095 w 200"/>
              <a:gd name="T51" fmla="*/ 67204167 h 246"/>
              <a:gd name="T52" fmla="*/ 14146340 w 200"/>
              <a:gd name="T53" fmla="*/ 64403817 h 246"/>
              <a:gd name="T54" fmla="*/ 13411676 w 200"/>
              <a:gd name="T55" fmla="*/ 60483750 h 246"/>
              <a:gd name="T56" fmla="*/ 13227796 w 200"/>
              <a:gd name="T57" fmla="*/ 53763333 h 246"/>
              <a:gd name="T58" fmla="*/ 13043916 w 200"/>
              <a:gd name="T59" fmla="*/ 47042917 h 246"/>
              <a:gd name="T60" fmla="*/ 12676584 w 200"/>
              <a:gd name="T61" fmla="*/ 43122850 h 246"/>
              <a:gd name="T62" fmla="*/ 11758041 w 200"/>
              <a:gd name="T63" fmla="*/ 39762642 h 246"/>
              <a:gd name="T64" fmla="*/ 10288286 w 200"/>
              <a:gd name="T65" fmla="*/ 37522150 h 246"/>
              <a:gd name="T66" fmla="*/ 7348776 w 200"/>
              <a:gd name="T67" fmla="*/ 35002258 h 246"/>
              <a:gd name="T68" fmla="*/ 3306842 w 200"/>
              <a:gd name="T69" fmla="*/ 32201908 h 246"/>
              <a:gd name="T70" fmla="*/ 1102424 w 200"/>
              <a:gd name="T71" fmla="*/ 29682017 h 246"/>
              <a:gd name="T72" fmla="*/ 183880 w 200"/>
              <a:gd name="T73" fmla="*/ 27441525 h 246"/>
              <a:gd name="T74" fmla="*/ 183880 w 200"/>
              <a:gd name="T75" fmla="*/ 24361775 h 246"/>
              <a:gd name="T76" fmla="*/ 918543 w 200"/>
              <a:gd name="T77" fmla="*/ 21841354 h 246"/>
              <a:gd name="T78" fmla="*/ 1837087 w 200"/>
              <a:gd name="T79" fmla="*/ 19041004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817894" y="6297457"/>
            <a:ext cx="231775" cy="254000"/>
          </a:xfrm>
          <a:custGeom>
            <a:avLst/>
            <a:gdLst>
              <a:gd name="T0" fmla="*/ 16889418 w 538"/>
              <a:gd name="T1" fmla="*/ 5712653 h 487"/>
              <a:gd name="T2" fmla="*/ 29695203 w 538"/>
              <a:gd name="T3" fmla="*/ 12785014 h 487"/>
              <a:gd name="T4" fmla="*/ 37490252 w 538"/>
              <a:gd name="T5" fmla="*/ 19041655 h 487"/>
              <a:gd name="T6" fmla="*/ 46955978 w 538"/>
              <a:gd name="T7" fmla="*/ 29922973 h 487"/>
              <a:gd name="T8" fmla="*/ 55678989 w 538"/>
              <a:gd name="T9" fmla="*/ 36995335 h 487"/>
              <a:gd name="T10" fmla="*/ 55493311 w 538"/>
              <a:gd name="T11" fmla="*/ 43795963 h 487"/>
              <a:gd name="T12" fmla="*/ 64402001 w 538"/>
              <a:gd name="T13" fmla="*/ 55765257 h 487"/>
              <a:gd name="T14" fmla="*/ 72939334 w 538"/>
              <a:gd name="T15" fmla="*/ 67462296 h 487"/>
              <a:gd name="T16" fmla="*/ 70340697 w 538"/>
              <a:gd name="T17" fmla="*/ 68006283 h 487"/>
              <a:gd name="T18" fmla="*/ 69041809 w 538"/>
              <a:gd name="T19" fmla="*/ 69638768 h 487"/>
              <a:gd name="T20" fmla="*/ 69041809 w 538"/>
              <a:gd name="T21" fmla="*/ 75623154 h 487"/>
              <a:gd name="T22" fmla="*/ 69969771 w 538"/>
              <a:gd name="T23" fmla="*/ 81879795 h 487"/>
              <a:gd name="T24" fmla="*/ 72197051 w 538"/>
              <a:gd name="T25" fmla="*/ 88408168 h 487"/>
              <a:gd name="T26" fmla="*/ 75537540 w 538"/>
              <a:gd name="T27" fmla="*/ 94664809 h 487"/>
              <a:gd name="T28" fmla="*/ 79435065 w 538"/>
              <a:gd name="T29" fmla="*/ 99561220 h 487"/>
              <a:gd name="T30" fmla="*/ 83703947 w 538"/>
              <a:gd name="T31" fmla="*/ 102281680 h 487"/>
              <a:gd name="T32" fmla="*/ 85559870 w 538"/>
              <a:gd name="T33" fmla="*/ 106090115 h 487"/>
              <a:gd name="T34" fmla="*/ 87601472 w 538"/>
              <a:gd name="T35" fmla="*/ 110442538 h 487"/>
              <a:gd name="T36" fmla="*/ 90756283 w 538"/>
              <a:gd name="T37" fmla="*/ 113434731 h 487"/>
              <a:gd name="T38" fmla="*/ 95210844 w 538"/>
              <a:gd name="T39" fmla="*/ 117514899 h 487"/>
              <a:gd name="T40" fmla="*/ 96138805 w 538"/>
              <a:gd name="T41" fmla="*/ 120779347 h 487"/>
              <a:gd name="T42" fmla="*/ 97437693 w 538"/>
              <a:gd name="T43" fmla="*/ 122411310 h 487"/>
              <a:gd name="T44" fmla="*/ 99850652 w 538"/>
              <a:gd name="T45" fmla="*/ 124043795 h 487"/>
              <a:gd name="T46" fmla="*/ 99108369 w 538"/>
              <a:gd name="T47" fmla="*/ 128396218 h 487"/>
              <a:gd name="T48" fmla="*/ 96324484 w 538"/>
              <a:gd name="T49" fmla="*/ 131660144 h 487"/>
              <a:gd name="T50" fmla="*/ 90941962 w 538"/>
              <a:gd name="T51" fmla="*/ 132476386 h 487"/>
              <a:gd name="T52" fmla="*/ 83146912 w 538"/>
              <a:gd name="T53" fmla="*/ 130572168 h 487"/>
              <a:gd name="T54" fmla="*/ 76836859 w 538"/>
              <a:gd name="T55" fmla="*/ 126763733 h 487"/>
              <a:gd name="T56" fmla="*/ 71640015 w 538"/>
              <a:gd name="T57" fmla="*/ 121323335 h 487"/>
              <a:gd name="T58" fmla="*/ 65886567 w 538"/>
              <a:gd name="T59" fmla="*/ 112890743 h 487"/>
              <a:gd name="T60" fmla="*/ 57905839 w 538"/>
              <a:gd name="T61" fmla="*/ 99289487 h 487"/>
              <a:gd name="T62" fmla="*/ 50853503 w 538"/>
              <a:gd name="T63" fmla="*/ 89768398 h 487"/>
              <a:gd name="T64" fmla="*/ 45656659 w 538"/>
              <a:gd name="T65" fmla="*/ 85959963 h 487"/>
              <a:gd name="T66" fmla="*/ 39346176 w 538"/>
              <a:gd name="T67" fmla="*/ 84055745 h 487"/>
              <a:gd name="T68" fmla="*/ 33407480 w 538"/>
              <a:gd name="T69" fmla="*/ 84328000 h 487"/>
              <a:gd name="T70" fmla="*/ 28396315 w 538"/>
              <a:gd name="T71" fmla="*/ 86232218 h 487"/>
              <a:gd name="T72" fmla="*/ 20972191 w 538"/>
              <a:gd name="T73" fmla="*/ 93848567 h 487"/>
              <a:gd name="T74" fmla="*/ 25241073 w 538"/>
              <a:gd name="T75" fmla="*/ 98200990 h 487"/>
              <a:gd name="T76" fmla="*/ 25983356 w 538"/>
              <a:gd name="T77" fmla="*/ 100649195 h 487"/>
              <a:gd name="T78" fmla="*/ 23013793 w 538"/>
              <a:gd name="T79" fmla="*/ 109082308 h 487"/>
              <a:gd name="T80" fmla="*/ 20972191 w 538"/>
              <a:gd name="T81" fmla="*/ 112618489 h 487"/>
              <a:gd name="T82" fmla="*/ 8723012 w 538"/>
              <a:gd name="T83" fmla="*/ 109626296 h 487"/>
              <a:gd name="T84" fmla="*/ 3711846 w 538"/>
              <a:gd name="T85" fmla="*/ 70454489 h 487"/>
              <a:gd name="T86" fmla="*/ 371184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8009982" y="6281582"/>
            <a:ext cx="106362" cy="128587"/>
          </a:xfrm>
          <a:custGeom>
            <a:avLst/>
            <a:gdLst>
              <a:gd name="T0" fmla="*/ 24036551 w 253"/>
              <a:gd name="T1" fmla="*/ 273378 h 246"/>
              <a:gd name="T2" fmla="*/ 27747870 w 253"/>
              <a:gd name="T3" fmla="*/ 2185979 h 246"/>
              <a:gd name="T4" fmla="*/ 31636179 w 253"/>
              <a:gd name="T5" fmla="*/ 5737803 h 246"/>
              <a:gd name="T6" fmla="*/ 35170929 w 253"/>
              <a:gd name="T7" fmla="*/ 10109238 h 246"/>
              <a:gd name="T8" fmla="*/ 38529109 w 253"/>
              <a:gd name="T9" fmla="*/ 15574186 h 246"/>
              <a:gd name="T10" fmla="*/ 41356741 w 253"/>
              <a:gd name="T11" fmla="*/ 20765232 h 246"/>
              <a:gd name="T12" fmla="*/ 43301105 w 253"/>
              <a:gd name="T13" fmla="*/ 25683424 h 246"/>
              <a:gd name="T14" fmla="*/ 44538352 w 253"/>
              <a:gd name="T15" fmla="*/ 30328237 h 246"/>
              <a:gd name="T16" fmla="*/ 44538352 w 253"/>
              <a:gd name="T17" fmla="*/ 34973050 h 246"/>
              <a:gd name="T18" fmla="*/ 42947546 w 253"/>
              <a:gd name="T19" fmla="*/ 41257087 h 246"/>
              <a:gd name="T20" fmla="*/ 40473053 w 253"/>
              <a:gd name="T21" fmla="*/ 47541646 h 246"/>
              <a:gd name="T22" fmla="*/ 36938303 w 253"/>
              <a:gd name="T23" fmla="*/ 53279448 h 246"/>
              <a:gd name="T24" fmla="*/ 32519866 w 253"/>
              <a:gd name="T25" fmla="*/ 58470495 h 246"/>
              <a:gd name="T26" fmla="*/ 27747870 w 253"/>
              <a:gd name="T27" fmla="*/ 62569075 h 246"/>
              <a:gd name="T28" fmla="*/ 22799304 w 253"/>
              <a:gd name="T29" fmla="*/ 65574666 h 246"/>
              <a:gd name="T30" fmla="*/ 17673749 w 253"/>
              <a:gd name="T31" fmla="*/ 66940510 h 246"/>
              <a:gd name="T32" fmla="*/ 13078742 w 253"/>
              <a:gd name="T33" fmla="*/ 66940510 h 246"/>
              <a:gd name="T34" fmla="*/ 9367003 w 253"/>
              <a:gd name="T35" fmla="*/ 65574666 h 246"/>
              <a:gd name="T36" fmla="*/ 5832253 w 253"/>
              <a:gd name="T37" fmla="*/ 63934920 h 246"/>
              <a:gd name="T38" fmla="*/ 1943944 w 253"/>
              <a:gd name="T39" fmla="*/ 62569075 h 246"/>
              <a:gd name="T40" fmla="*/ 530128 w 253"/>
              <a:gd name="T41" fmla="*/ 59836863 h 246"/>
              <a:gd name="T42" fmla="*/ 1767375 w 253"/>
              <a:gd name="T43" fmla="*/ 56011661 h 246"/>
              <a:gd name="T44" fmla="*/ 3888309 w 253"/>
              <a:gd name="T45" fmla="*/ 53552304 h 246"/>
              <a:gd name="T46" fmla="*/ 6539371 w 253"/>
              <a:gd name="T47" fmla="*/ 52186459 h 246"/>
              <a:gd name="T48" fmla="*/ 8836874 w 253"/>
              <a:gd name="T49" fmla="*/ 53825682 h 246"/>
              <a:gd name="T50" fmla="*/ 10604249 w 253"/>
              <a:gd name="T51" fmla="*/ 56557894 h 246"/>
              <a:gd name="T52" fmla="*/ 12018065 w 253"/>
              <a:gd name="T53" fmla="*/ 54918671 h 246"/>
              <a:gd name="T54" fmla="*/ 13255312 w 253"/>
              <a:gd name="T55" fmla="*/ 51913081 h 246"/>
              <a:gd name="T56" fmla="*/ 14846117 w 253"/>
              <a:gd name="T57" fmla="*/ 49180869 h 246"/>
              <a:gd name="T58" fmla="*/ 16083364 w 253"/>
              <a:gd name="T59" fmla="*/ 49454247 h 246"/>
              <a:gd name="T60" fmla="*/ 17320610 w 253"/>
              <a:gd name="T61" fmla="*/ 48907490 h 246"/>
              <a:gd name="T62" fmla="*/ 18734426 w 253"/>
              <a:gd name="T63" fmla="*/ 48634635 h 246"/>
              <a:gd name="T64" fmla="*/ 21208499 w 253"/>
              <a:gd name="T65" fmla="*/ 47541646 h 246"/>
              <a:gd name="T66" fmla="*/ 26334054 w 253"/>
              <a:gd name="T67" fmla="*/ 44809433 h 246"/>
              <a:gd name="T68" fmla="*/ 31636179 w 253"/>
              <a:gd name="T69" fmla="*/ 40164620 h 246"/>
              <a:gd name="T70" fmla="*/ 34817369 w 253"/>
              <a:gd name="T71" fmla="*/ 36885651 h 246"/>
              <a:gd name="T72" fmla="*/ 37115293 w 253"/>
              <a:gd name="T73" fmla="*/ 33607206 h 246"/>
              <a:gd name="T74" fmla="*/ 38529109 w 253"/>
              <a:gd name="T75" fmla="*/ 30328237 h 246"/>
              <a:gd name="T76" fmla="*/ 38705678 w 253"/>
              <a:gd name="T77" fmla="*/ 26776413 h 246"/>
              <a:gd name="T78" fmla="*/ 37821991 w 253"/>
              <a:gd name="T79" fmla="*/ 24044201 h 246"/>
              <a:gd name="T80" fmla="*/ 37115293 w 253"/>
              <a:gd name="T81" fmla="*/ 21858222 h 246"/>
              <a:gd name="T82" fmla="*/ 36584744 w 253"/>
              <a:gd name="T83" fmla="*/ 19672243 h 246"/>
              <a:gd name="T84" fmla="*/ 35524488 w 253"/>
              <a:gd name="T85" fmla="*/ 18306398 h 246"/>
              <a:gd name="T86" fmla="*/ 33757113 w 253"/>
              <a:gd name="T87" fmla="*/ 17759642 h 246"/>
              <a:gd name="T88" fmla="*/ 32519866 w 253"/>
              <a:gd name="T89" fmla="*/ 16666652 h 246"/>
              <a:gd name="T90" fmla="*/ 31813168 w 253"/>
              <a:gd name="T91" fmla="*/ 14754051 h 246"/>
              <a:gd name="T92" fmla="*/ 24743249 w 253"/>
              <a:gd name="T93" fmla="*/ 13388207 h 246"/>
              <a:gd name="T94" fmla="*/ 24036551 w 253"/>
              <a:gd name="T95" fmla="*/ 12021839 h 246"/>
              <a:gd name="T96" fmla="*/ 24036551 w 253"/>
              <a:gd name="T97" fmla="*/ 9836383 h 246"/>
              <a:gd name="T98" fmla="*/ 24743249 w 253"/>
              <a:gd name="T99" fmla="*/ 4918191 h 246"/>
              <a:gd name="T100" fmla="*/ 19441124 w 253"/>
              <a:gd name="T101" fmla="*/ 3005590 h 246"/>
              <a:gd name="T102" fmla="*/ 17143621 w 253"/>
              <a:gd name="T103" fmla="*/ 3278969 h 246"/>
              <a:gd name="T104" fmla="*/ 15199676 w 253"/>
              <a:gd name="T105" fmla="*/ 4918191 h 246"/>
              <a:gd name="T106" fmla="*/ 18380867 w 253"/>
              <a:gd name="T107" fmla="*/ 1366368 h 246"/>
              <a:gd name="T108" fmla="*/ 19971673 w 253"/>
              <a:gd name="T109" fmla="*/ 273378 h 246"/>
              <a:gd name="T110" fmla="*/ 22445745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285957" y="5914869"/>
            <a:ext cx="63500" cy="119063"/>
          </a:xfrm>
          <a:custGeom>
            <a:avLst/>
            <a:gdLst>
              <a:gd name="T0" fmla="*/ 8315798 w 141"/>
              <a:gd name="T1" fmla="*/ 62175430 h 228"/>
              <a:gd name="T2" fmla="*/ 7301599 w 141"/>
              <a:gd name="T3" fmla="*/ 59993652 h 228"/>
              <a:gd name="T4" fmla="*/ 5881631 w 141"/>
              <a:gd name="T5" fmla="*/ 56721509 h 228"/>
              <a:gd name="T6" fmla="*/ 4462113 w 141"/>
              <a:gd name="T7" fmla="*/ 52903660 h 228"/>
              <a:gd name="T8" fmla="*/ 3245255 w 141"/>
              <a:gd name="T9" fmla="*/ 48540627 h 228"/>
              <a:gd name="T10" fmla="*/ 2028397 w 141"/>
              <a:gd name="T11" fmla="*/ 44450187 h 228"/>
              <a:gd name="T12" fmla="*/ 1014199 w 141"/>
              <a:gd name="T13" fmla="*/ 40359746 h 228"/>
              <a:gd name="T14" fmla="*/ 405770 w 141"/>
              <a:gd name="T15" fmla="*/ 36814488 h 228"/>
              <a:gd name="T16" fmla="*/ 0 w 141"/>
              <a:gd name="T17" fmla="*/ 33541823 h 228"/>
              <a:gd name="T18" fmla="*/ 405770 w 141"/>
              <a:gd name="T19" fmla="*/ 28360493 h 228"/>
              <a:gd name="T20" fmla="*/ 811089 w 141"/>
              <a:gd name="T21" fmla="*/ 23724869 h 228"/>
              <a:gd name="T22" fmla="*/ 1216858 w 141"/>
              <a:gd name="T23" fmla="*/ 19088723 h 228"/>
              <a:gd name="T24" fmla="*/ 1825287 w 141"/>
              <a:gd name="T25" fmla="*/ 14998283 h 228"/>
              <a:gd name="T26" fmla="*/ 3650574 w 141"/>
              <a:gd name="T27" fmla="*/ 7635698 h 228"/>
              <a:gd name="T28" fmla="*/ 5678972 w 141"/>
              <a:gd name="T29" fmla="*/ 0 h 228"/>
              <a:gd name="T30" fmla="*/ 9126887 w 141"/>
              <a:gd name="T31" fmla="*/ 4363032 h 228"/>
              <a:gd name="T32" fmla="*/ 12574801 w 141"/>
              <a:gd name="T33" fmla="*/ 7635698 h 228"/>
              <a:gd name="T34" fmla="*/ 15414287 w 141"/>
              <a:gd name="T35" fmla="*/ 10090067 h 228"/>
              <a:gd name="T36" fmla="*/ 18051113 w 141"/>
              <a:gd name="T37" fmla="*/ 13089619 h 228"/>
              <a:gd name="T38" fmla="*/ 19267972 w 141"/>
              <a:gd name="T39" fmla="*/ 14998283 h 228"/>
              <a:gd name="T40" fmla="*/ 20484830 w 141"/>
              <a:gd name="T41" fmla="*/ 17180060 h 228"/>
              <a:gd name="T42" fmla="*/ 21701688 w 141"/>
              <a:gd name="T43" fmla="*/ 20179612 h 228"/>
              <a:gd name="T44" fmla="*/ 23121206 w 141"/>
              <a:gd name="T45" fmla="*/ 23452278 h 228"/>
              <a:gd name="T46" fmla="*/ 24338514 w 141"/>
              <a:gd name="T47" fmla="*/ 27270127 h 228"/>
              <a:gd name="T48" fmla="*/ 25758032 w 141"/>
              <a:gd name="T49" fmla="*/ 31905751 h 228"/>
              <a:gd name="T50" fmla="*/ 26974890 w 141"/>
              <a:gd name="T51" fmla="*/ 37632263 h 228"/>
              <a:gd name="T52" fmla="*/ 28597518 w 141"/>
              <a:gd name="T53" fmla="*/ 43904481 h 228"/>
              <a:gd name="T54" fmla="*/ 28394858 w 141"/>
              <a:gd name="T55" fmla="*/ 46086259 h 228"/>
              <a:gd name="T56" fmla="*/ 27989089 w 141"/>
              <a:gd name="T57" fmla="*/ 48267514 h 228"/>
              <a:gd name="T58" fmla="*/ 27380660 w 141"/>
              <a:gd name="T59" fmla="*/ 50721882 h 228"/>
              <a:gd name="T60" fmla="*/ 26569121 w 141"/>
              <a:gd name="T61" fmla="*/ 52358476 h 228"/>
              <a:gd name="T62" fmla="*/ 25758032 w 141"/>
              <a:gd name="T63" fmla="*/ 54267140 h 228"/>
              <a:gd name="T64" fmla="*/ 24541174 w 141"/>
              <a:gd name="T65" fmla="*/ 55630620 h 228"/>
              <a:gd name="T66" fmla="*/ 23324316 w 141"/>
              <a:gd name="T67" fmla="*/ 56994100 h 228"/>
              <a:gd name="T68" fmla="*/ 21904348 w 141"/>
              <a:gd name="T69" fmla="*/ 58084989 h 228"/>
              <a:gd name="T70" fmla="*/ 20281720 w 141"/>
              <a:gd name="T71" fmla="*/ 59175878 h 228"/>
              <a:gd name="T72" fmla="*/ 18862202 w 141"/>
              <a:gd name="T73" fmla="*/ 59993652 h 228"/>
              <a:gd name="T74" fmla="*/ 17239574 w 141"/>
              <a:gd name="T75" fmla="*/ 60811949 h 228"/>
              <a:gd name="T76" fmla="*/ 15414287 w 141"/>
              <a:gd name="T77" fmla="*/ 61357133 h 228"/>
              <a:gd name="T78" fmla="*/ 11966372 w 141"/>
              <a:gd name="T79" fmla="*/ 61902838 h 228"/>
              <a:gd name="T80" fmla="*/ 8315798 w 141"/>
              <a:gd name="T81" fmla="*/ 62175430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225757" y="5625944"/>
            <a:ext cx="233362" cy="439738"/>
            <a:chOff x="5062" y="2295"/>
            <a:chExt cx="177" cy="279"/>
          </a:xfrm>
          <a:solidFill>
            <a:srgbClr val="3C5C4F"/>
          </a:solidFill>
        </p:grpSpPr>
        <p:sp>
          <p:nvSpPr>
            <p:cNvPr id="34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4 w 60"/>
                <a:gd name="T1" fmla="*/ 12 h 110"/>
                <a:gd name="T2" fmla="*/ 4 w 60"/>
                <a:gd name="T3" fmla="*/ 12 h 110"/>
                <a:gd name="T4" fmla="*/ 5 w 60"/>
                <a:gd name="T5" fmla="*/ 12 h 110"/>
                <a:gd name="T6" fmla="*/ 5 w 60"/>
                <a:gd name="T7" fmla="*/ 11 h 110"/>
                <a:gd name="T8" fmla="*/ 5 w 60"/>
                <a:gd name="T9" fmla="*/ 11 h 110"/>
                <a:gd name="T10" fmla="*/ 5 w 60"/>
                <a:gd name="T11" fmla="*/ 10 h 110"/>
                <a:gd name="T12" fmla="*/ 6 w 60"/>
                <a:gd name="T13" fmla="*/ 9 h 110"/>
                <a:gd name="T14" fmla="*/ 6 w 60"/>
                <a:gd name="T15" fmla="*/ 9 h 110"/>
                <a:gd name="T16" fmla="*/ 6 w 60"/>
                <a:gd name="T17" fmla="*/ 8 h 110"/>
                <a:gd name="T18" fmla="*/ 6 w 60"/>
                <a:gd name="T19" fmla="*/ 7 h 110"/>
                <a:gd name="T20" fmla="*/ 6 w 60"/>
                <a:gd name="T21" fmla="*/ 5 h 110"/>
                <a:gd name="T22" fmla="*/ 6 w 60"/>
                <a:gd name="T23" fmla="*/ 4 h 110"/>
                <a:gd name="T24" fmla="*/ 5 w 60"/>
                <a:gd name="T25" fmla="*/ 3 h 110"/>
                <a:gd name="T26" fmla="*/ 5 w 60"/>
                <a:gd name="T27" fmla="*/ 2 h 110"/>
                <a:gd name="T28" fmla="*/ 5 w 60"/>
                <a:gd name="T29" fmla="*/ 1 h 110"/>
                <a:gd name="T30" fmla="*/ 4 w 60"/>
                <a:gd name="T31" fmla="*/ 1 h 110"/>
                <a:gd name="T32" fmla="*/ 4 w 60"/>
                <a:gd name="T33" fmla="*/ 0 h 110"/>
                <a:gd name="T34" fmla="*/ 3 w 60"/>
                <a:gd name="T35" fmla="*/ 0 h 110"/>
                <a:gd name="T36" fmla="*/ 3 w 60"/>
                <a:gd name="T37" fmla="*/ 1 h 110"/>
                <a:gd name="T38" fmla="*/ 3 w 60"/>
                <a:gd name="T39" fmla="*/ 1 h 110"/>
                <a:gd name="T40" fmla="*/ 3 w 60"/>
                <a:gd name="T41" fmla="*/ 2 h 110"/>
                <a:gd name="T42" fmla="*/ 2 w 60"/>
                <a:gd name="T43" fmla="*/ 3 h 110"/>
                <a:gd name="T44" fmla="*/ 2 w 60"/>
                <a:gd name="T45" fmla="*/ 4 h 110"/>
                <a:gd name="T46" fmla="*/ 1 w 60"/>
                <a:gd name="T47" fmla="*/ 6 h 110"/>
                <a:gd name="T48" fmla="*/ 1 w 60"/>
                <a:gd name="T49" fmla="*/ 7 h 110"/>
                <a:gd name="T50" fmla="*/ 1 w 60"/>
                <a:gd name="T51" fmla="*/ 7 h 110"/>
                <a:gd name="T52" fmla="*/ 0 w 60"/>
                <a:gd name="T53" fmla="*/ 8 h 110"/>
                <a:gd name="T54" fmla="*/ 0 w 60"/>
                <a:gd name="T55" fmla="*/ 8 h 110"/>
                <a:gd name="T56" fmla="*/ 0 w 60"/>
                <a:gd name="T57" fmla="*/ 8 h 110"/>
                <a:gd name="T58" fmla="*/ 0 w 60"/>
                <a:gd name="T59" fmla="*/ 9 h 110"/>
                <a:gd name="T60" fmla="*/ 0 w 60"/>
                <a:gd name="T61" fmla="*/ 9 h 110"/>
                <a:gd name="T62" fmla="*/ 1 w 60"/>
                <a:gd name="T63" fmla="*/ 10 h 110"/>
                <a:gd name="T64" fmla="*/ 1 w 60"/>
                <a:gd name="T65" fmla="*/ 11 h 110"/>
                <a:gd name="T66" fmla="*/ 2 w 60"/>
                <a:gd name="T67" fmla="*/ 11 h 110"/>
                <a:gd name="T68" fmla="*/ 3 w 60"/>
                <a:gd name="T69" fmla="*/ 12 h 110"/>
                <a:gd name="T70" fmla="*/ 3 w 60"/>
                <a:gd name="T71" fmla="*/ 12 h 110"/>
                <a:gd name="T72" fmla="*/ 4 w 60"/>
                <a:gd name="T73" fmla="*/ 12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 h 75"/>
                <a:gd name="T2" fmla="*/ 1 w 72"/>
                <a:gd name="T3" fmla="*/ 2 h 75"/>
                <a:gd name="T4" fmla="*/ 2 w 72"/>
                <a:gd name="T5" fmla="*/ 3 h 75"/>
                <a:gd name="T6" fmla="*/ 3 w 72"/>
                <a:gd name="T7" fmla="*/ 4 h 75"/>
                <a:gd name="T8" fmla="*/ 3 w 72"/>
                <a:gd name="T9" fmla="*/ 4 h 75"/>
                <a:gd name="T10" fmla="*/ 4 w 72"/>
                <a:gd name="T11" fmla="*/ 5 h 75"/>
                <a:gd name="T12" fmla="*/ 5 w 72"/>
                <a:gd name="T13" fmla="*/ 6 h 75"/>
                <a:gd name="T14" fmla="*/ 5 w 72"/>
                <a:gd name="T15" fmla="*/ 7 h 75"/>
                <a:gd name="T16" fmla="*/ 5 w 72"/>
                <a:gd name="T17" fmla="*/ 8 h 75"/>
                <a:gd name="T18" fmla="*/ 8 w 72"/>
                <a:gd name="T19" fmla="*/ 8 h 75"/>
                <a:gd name="T20" fmla="*/ 7 w 72"/>
                <a:gd name="T21" fmla="*/ 6 h 75"/>
                <a:gd name="T22" fmla="*/ 7 w 72"/>
                <a:gd name="T23" fmla="*/ 4 h 75"/>
                <a:gd name="T24" fmla="*/ 7 w 72"/>
                <a:gd name="T25" fmla="*/ 3 h 75"/>
                <a:gd name="T26" fmla="*/ 7 w 72"/>
                <a:gd name="T27" fmla="*/ 2 h 75"/>
                <a:gd name="T28" fmla="*/ 7 w 72"/>
                <a:gd name="T29" fmla="*/ 1 h 75"/>
                <a:gd name="T30" fmla="*/ 8 w 72"/>
                <a:gd name="T31" fmla="*/ 0 h 75"/>
                <a:gd name="T32" fmla="*/ 6 w 72"/>
                <a:gd name="T33" fmla="*/ 0 h 75"/>
                <a:gd name="T34" fmla="*/ 4 w 72"/>
                <a:gd name="T35" fmla="*/ 0 h 75"/>
                <a:gd name="T36" fmla="*/ 2 w 72"/>
                <a:gd name="T37" fmla="*/ 0 h 75"/>
                <a:gd name="T38" fmla="*/ 1 w 72"/>
                <a:gd name="T39" fmla="*/ 0 h 75"/>
                <a:gd name="T40" fmla="*/ 1 w 72"/>
                <a:gd name="T41" fmla="*/ 1 h 75"/>
                <a:gd name="T42" fmla="*/ 1 w 72"/>
                <a:gd name="T43" fmla="*/ 1 h 75"/>
                <a:gd name="T44" fmla="*/ 0 w 72"/>
                <a:gd name="T45" fmla="*/ 1 h 75"/>
                <a:gd name="T46" fmla="*/ 0 w 72"/>
                <a:gd name="T47" fmla="*/ 1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2 w 15"/>
                <a:gd name="T1" fmla="*/ 5 h 49"/>
                <a:gd name="T2" fmla="*/ 2 w 15"/>
                <a:gd name="T3" fmla="*/ 4 h 49"/>
                <a:gd name="T4" fmla="*/ 2 w 15"/>
                <a:gd name="T5" fmla="*/ 2 h 49"/>
                <a:gd name="T6" fmla="*/ 2 w 15"/>
                <a:gd name="T7" fmla="*/ 1 h 49"/>
                <a:gd name="T8" fmla="*/ 1 w 15"/>
                <a:gd name="T9" fmla="*/ 1 h 49"/>
                <a:gd name="T10" fmla="*/ 1 w 15"/>
                <a:gd name="T11" fmla="*/ 0 h 49"/>
                <a:gd name="T12" fmla="*/ 1 w 15"/>
                <a:gd name="T13" fmla="*/ 0 h 49"/>
                <a:gd name="T14" fmla="*/ 0 w 15"/>
                <a:gd name="T15" fmla="*/ 1 h 49"/>
                <a:gd name="T16" fmla="*/ 0 w 15"/>
                <a:gd name="T17" fmla="*/ 2 h 49"/>
                <a:gd name="T18" fmla="*/ 0 w 15"/>
                <a:gd name="T19" fmla="*/ 3 h 49"/>
                <a:gd name="T20" fmla="*/ 0 w 15"/>
                <a:gd name="T21" fmla="*/ 3 h 49"/>
                <a:gd name="T22" fmla="*/ 0 w 15"/>
                <a:gd name="T23" fmla="*/ 4 h 49"/>
                <a:gd name="T24" fmla="*/ 0 w 15"/>
                <a:gd name="T25" fmla="*/ 5 h 49"/>
                <a:gd name="T26" fmla="*/ 1 w 15"/>
                <a:gd name="T27" fmla="*/ 5 h 49"/>
                <a:gd name="T28" fmla="*/ 1 w 15"/>
                <a:gd name="T29" fmla="*/ 5 h 49"/>
                <a:gd name="T30" fmla="*/ 1 w 15"/>
                <a:gd name="T31" fmla="*/ 5 h 49"/>
                <a:gd name="T32" fmla="*/ 2 w 15"/>
                <a:gd name="T33" fmla="*/ 5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 w 47"/>
                <a:gd name="T1" fmla="*/ 1 h 40"/>
                <a:gd name="T2" fmla="*/ 0 w 47"/>
                <a:gd name="T3" fmla="*/ 4 h 40"/>
                <a:gd name="T4" fmla="*/ 1 w 47"/>
                <a:gd name="T5" fmla="*/ 4 h 40"/>
                <a:gd name="T6" fmla="*/ 1 w 47"/>
                <a:gd name="T7" fmla="*/ 4 h 40"/>
                <a:gd name="T8" fmla="*/ 2 w 47"/>
                <a:gd name="T9" fmla="*/ 4 h 40"/>
                <a:gd name="T10" fmla="*/ 3 w 47"/>
                <a:gd name="T11" fmla="*/ 4 h 40"/>
                <a:gd name="T12" fmla="*/ 3 w 47"/>
                <a:gd name="T13" fmla="*/ 4 h 40"/>
                <a:gd name="T14" fmla="*/ 4 w 47"/>
                <a:gd name="T15" fmla="*/ 4 h 40"/>
                <a:gd name="T16" fmla="*/ 4 w 47"/>
                <a:gd name="T17" fmla="*/ 3 h 40"/>
                <a:gd name="T18" fmla="*/ 5 w 47"/>
                <a:gd name="T19" fmla="*/ 3 h 40"/>
                <a:gd name="T20" fmla="*/ 5 w 47"/>
                <a:gd name="T21" fmla="*/ 0 h 40"/>
                <a:gd name="T22" fmla="*/ 4 w 47"/>
                <a:gd name="T23" fmla="*/ 0 h 40"/>
                <a:gd name="T24" fmla="*/ 4 w 47"/>
                <a:gd name="T25" fmla="*/ 0 h 40"/>
                <a:gd name="T26" fmla="*/ 3 w 47"/>
                <a:gd name="T27" fmla="*/ 0 h 40"/>
                <a:gd name="T28" fmla="*/ 2 w 47"/>
                <a:gd name="T29" fmla="*/ 1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1 h 31"/>
                <a:gd name="T4" fmla="*/ 1 w 39"/>
                <a:gd name="T5" fmla="*/ 1 h 31"/>
                <a:gd name="T6" fmla="*/ 1 w 39"/>
                <a:gd name="T7" fmla="*/ 2 h 31"/>
                <a:gd name="T8" fmla="*/ 2 w 39"/>
                <a:gd name="T9" fmla="*/ 2 h 31"/>
                <a:gd name="T10" fmla="*/ 3 w 39"/>
                <a:gd name="T11" fmla="*/ 3 h 31"/>
                <a:gd name="T12" fmla="*/ 3 w 39"/>
                <a:gd name="T13" fmla="*/ 3 h 31"/>
                <a:gd name="T14" fmla="*/ 4 w 39"/>
                <a:gd name="T15" fmla="*/ 3 h 31"/>
                <a:gd name="T16" fmla="*/ 4 w 39"/>
                <a:gd name="T17" fmla="*/ 3 h 31"/>
                <a:gd name="T18" fmla="*/ 4 w 39"/>
                <a:gd name="T19" fmla="*/ 2 h 31"/>
                <a:gd name="T20" fmla="*/ 3 w 39"/>
                <a:gd name="T21" fmla="*/ 2 h 31"/>
                <a:gd name="T22" fmla="*/ 2 w 39"/>
                <a:gd name="T23" fmla="*/ 1 h 31"/>
                <a:gd name="T24" fmla="*/ 1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 w 34"/>
                <a:gd name="T3" fmla="*/ 2 h 19"/>
                <a:gd name="T4" fmla="*/ 3 w 34"/>
                <a:gd name="T5" fmla="*/ 0 h 19"/>
                <a:gd name="T6" fmla="*/ 2 w 34"/>
                <a:gd name="T7" fmla="*/ 0 h 19"/>
                <a:gd name="T8" fmla="*/ 1 w 34"/>
                <a:gd name="T9" fmla="*/ 0 h 19"/>
                <a:gd name="T10" fmla="*/ 1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2 w 19"/>
                <a:gd name="T3" fmla="*/ 1 h 12"/>
                <a:gd name="T4" fmla="*/ 1 w 19"/>
                <a:gd name="T5" fmla="*/ 1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3 w 126"/>
                <a:gd name="T1" fmla="*/ 0 h 166"/>
                <a:gd name="T2" fmla="*/ 13 w 126"/>
                <a:gd name="T3" fmla="*/ 1 h 166"/>
                <a:gd name="T4" fmla="*/ 13 w 126"/>
                <a:gd name="T5" fmla="*/ 1 h 166"/>
                <a:gd name="T6" fmla="*/ 14 w 126"/>
                <a:gd name="T7" fmla="*/ 1 h 166"/>
                <a:gd name="T8" fmla="*/ 14 w 126"/>
                <a:gd name="T9" fmla="*/ 2 h 166"/>
                <a:gd name="T10" fmla="*/ 14 w 126"/>
                <a:gd name="T11" fmla="*/ 2 h 166"/>
                <a:gd name="T12" fmla="*/ 14 w 126"/>
                <a:gd name="T13" fmla="*/ 3 h 166"/>
                <a:gd name="T14" fmla="*/ 14 w 126"/>
                <a:gd name="T15" fmla="*/ 4 h 166"/>
                <a:gd name="T16" fmla="*/ 13 w 126"/>
                <a:gd name="T17" fmla="*/ 5 h 166"/>
                <a:gd name="T18" fmla="*/ 13 w 126"/>
                <a:gd name="T19" fmla="*/ 6 h 166"/>
                <a:gd name="T20" fmla="*/ 12 w 126"/>
                <a:gd name="T21" fmla="*/ 7 h 166"/>
                <a:gd name="T22" fmla="*/ 10 w 126"/>
                <a:gd name="T23" fmla="*/ 9 h 166"/>
                <a:gd name="T24" fmla="*/ 8 w 126"/>
                <a:gd name="T25" fmla="*/ 11 h 166"/>
                <a:gd name="T26" fmla="*/ 6 w 126"/>
                <a:gd name="T27" fmla="*/ 14 h 166"/>
                <a:gd name="T28" fmla="*/ 4 w 126"/>
                <a:gd name="T29" fmla="*/ 16 h 166"/>
                <a:gd name="T30" fmla="*/ 3 w 126"/>
                <a:gd name="T31" fmla="*/ 17 h 166"/>
                <a:gd name="T32" fmla="*/ 2 w 126"/>
                <a:gd name="T33" fmla="*/ 17 h 166"/>
                <a:gd name="T34" fmla="*/ 1 w 126"/>
                <a:gd name="T35" fmla="*/ 18 h 166"/>
                <a:gd name="T36" fmla="*/ 0 w 126"/>
                <a:gd name="T37" fmla="*/ 18 h 166"/>
                <a:gd name="T38" fmla="*/ 0 w 126"/>
                <a:gd name="T39" fmla="*/ 18 h 166"/>
                <a:gd name="T40" fmla="*/ 0 w 126"/>
                <a:gd name="T41" fmla="*/ 17 h 166"/>
                <a:gd name="T42" fmla="*/ 0 w 126"/>
                <a:gd name="T43" fmla="*/ 16 h 166"/>
                <a:gd name="T44" fmla="*/ 0 w 126"/>
                <a:gd name="T45" fmla="*/ 15 h 166"/>
                <a:gd name="T46" fmla="*/ 0 w 126"/>
                <a:gd name="T47" fmla="*/ 14 h 166"/>
                <a:gd name="T48" fmla="*/ 1 w 126"/>
                <a:gd name="T49" fmla="*/ 14 h 166"/>
                <a:gd name="T50" fmla="*/ 1 w 126"/>
                <a:gd name="T51" fmla="*/ 14 h 166"/>
                <a:gd name="T52" fmla="*/ 2 w 126"/>
                <a:gd name="T53" fmla="*/ 13 h 166"/>
                <a:gd name="T54" fmla="*/ 3 w 126"/>
                <a:gd name="T55" fmla="*/ 13 h 166"/>
                <a:gd name="T56" fmla="*/ 4 w 126"/>
                <a:gd name="T57" fmla="*/ 12 h 166"/>
                <a:gd name="T58" fmla="*/ 4 w 126"/>
                <a:gd name="T59" fmla="*/ 11 h 166"/>
                <a:gd name="T60" fmla="*/ 5 w 126"/>
                <a:gd name="T61" fmla="*/ 11 h 166"/>
                <a:gd name="T62" fmla="*/ 6 w 126"/>
                <a:gd name="T63" fmla="*/ 10 h 166"/>
                <a:gd name="T64" fmla="*/ 6 w 126"/>
                <a:gd name="T65" fmla="*/ 9 h 166"/>
                <a:gd name="T66" fmla="*/ 7 w 126"/>
                <a:gd name="T67" fmla="*/ 7 h 166"/>
                <a:gd name="T68" fmla="*/ 8 w 126"/>
                <a:gd name="T69" fmla="*/ 6 h 166"/>
                <a:gd name="T70" fmla="*/ 9 w 126"/>
                <a:gd name="T71" fmla="*/ 4 h 166"/>
                <a:gd name="T72" fmla="*/ 10 w 126"/>
                <a:gd name="T73" fmla="*/ 3 h 166"/>
                <a:gd name="T74" fmla="*/ 10 w 126"/>
                <a:gd name="T75" fmla="*/ 2 h 166"/>
                <a:gd name="T76" fmla="*/ 11 w 126"/>
                <a:gd name="T77" fmla="*/ 1 h 166"/>
                <a:gd name="T78" fmla="*/ 12 w 126"/>
                <a:gd name="T79" fmla="*/ 1 h 166"/>
                <a:gd name="T80" fmla="*/ 13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1 w 259"/>
                <a:gd name="T1" fmla="*/ 20 h 259"/>
                <a:gd name="T2" fmla="*/ 0 w 259"/>
                <a:gd name="T3" fmla="*/ 18 h 259"/>
                <a:gd name="T4" fmla="*/ 0 w 259"/>
                <a:gd name="T5" fmla="*/ 16 h 259"/>
                <a:gd name="T6" fmla="*/ 1 w 259"/>
                <a:gd name="T7" fmla="*/ 14 h 259"/>
                <a:gd name="T8" fmla="*/ 2 w 259"/>
                <a:gd name="T9" fmla="*/ 14 h 259"/>
                <a:gd name="T10" fmla="*/ 4 w 259"/>
                <a:gd name="T11" fmla="*/ 13 h 259"/>
                <a:gd name="T12" fmla="*/ 5 w 259"/>
                <a:gd name="T13" fmla="*/ 11 h 259"/>
                <a:gd name="T14" fmla="*/ 7 w 259"/>
                <a:gd name="T15" fmla="*/ 10 h 259"/>
                <a:gd name="T16" fmla="*/ 7 w 259"/>
                <a:gd name="T17" fmla="*/ 10 h 259"/>
                <a:gd name="T18" fmla="*/ 9 w 259"/>
                <a:gd name="T19" fmla="*/ 10 h 259"/>
                <a:gd name="T20" fmla="*/ 10 w 259"/>
                <a:gd name="T21" fmla="*/ 10 h 259"/>
                <a:gd name="T22" fmla="*/ 11 w 259"/>
                <a:gd name="T23" fmla="*/ 12 h 259"/>
                <a:gd name="T24" fmla="*/ 11 w 259"/>
                <a:gd name="T25" fmla="*/ 12 h 259"/>
                <a:gd name="T26" fmla="*/ 13 w 259"/>
                <a:gd name="T27" fmla="*/ 12 h 259"/>
                <a:gd name="T28" fmla="*/ 14 w 259"/>
                <a:gd name="T29" fmla="*/ 12 h 259"/>
                <a:gd name="T30" fmla="*/ 16 w 259"/>
                <a:gd name="T31" fmla="*/ 10 h 259"/>
                <a:gd name="T32" fmla="*/ 17 w 259"/>
                <a:gd name="T33" fmla="*/ 9 h 259"/>
                <a:gd name="T34" fmla="*/ 19 w 259"/>
                <a:gd name="T35" fmla="*/ 6 h 259"/>
                <a:gd name="T36" fmla="*/ 20 w 259"/>
                <a:gd name="T37" fmla="*/ 2 h 259"/>
                <a:gd name="T38" fmla="*/ 21 w 259"/>
                <a:gd name="T39" fmla="*/ 0 h 259"/>
                <a:gd name="T40" fmla="*/ 22 w 259"/>
                <a:gd name="T41" fmla="*/ 1 h 259"/>
                <a:gd name="T42" fmla="*/ 23 w 259"/>
                <a:gd name="T43" fmla="*/ 2 h 259"/>
                <a:gd name="T44" fmla="*/ 24 w 259"/>
                <a:gd name="T45" fmla="*/ 4 h 259"/>
                <a:gd name="T46" fmla="*/ 24 w 259"/>
                <a:gd name="T47" fmla="*/ 6 h 259"/>
                <a:gd name="T48" fmla="*/ 24 w 259"/>
                <a:gd name="T49" fmla="*/ 7 h 259"/>
                <a:gd name="T50" fmla="*/ 25 w 259"/>
                <a:gd name="T51" fmla="*/ 8 h 259"/>
                <a:gd name="T52" fmla="*/ 25 w 259"/>
                <a:gd name="T53" fmla="*/ 10 h 259"/>
                <a:gd name="T54" fmla="*/ 25 w 259"/>
                <a:gd name="T55" fmla="*/ 12 h 259"/>
                <a:gd name="T56" fmla="*/ 26 w 259"/>
                <a:gd name="T57" fmla="*/ 12 h 259"/>
                <a:gd name="T58" fmla="*/ 26 w 259"/>
                <a:gd name="T59" fmla="*/ 13 h 259"/>
                <a:gd name="T60" fmla="*/ 27 w 259"/>
                <a:gd name="T61" fmla="*/ 15 h 259"/>
                <a:gd name="T62" fmla="*/ 27 w 259"/>
                <a:gd name="T63" fmla="*/ 18 h 259"/>
                <a:gd name="T64" fmla="*/ 26 w 259"/>
                <a:gd name="T65" fmla="*/ 26 h 259"/>
                <a:gd name="T66" fmla="*/ 26 w 259"/>
                <a:gd name="T67" fmla="*/ 25 h 259"/>
                <a:gd name="T68" fmla="*/ 26 w 259"/>
                <a:gd name="T69" fmla="*/ 23 h 259"/>
                <a:gd name="T70" fmla="*/ 26 w 259"/>
                <a:gd name="T71" fmla="*/ 21 h 259"/>
                <a:gd name="T72" fmla="*/ 24 w 259"/>
                <a:gd name="T73" fmla="*/ 21 h 259"/>
                <a:gd name="T74" fmla="*/ 22 w 259"/>
                <a:gd name="T75" fmla="*/ 20 h 259"/>
                <a:gd name="T76" fmla="*/ 21 w 259"/>
                <a:gd name="T77" fmla="*/ 22 h 259"/>
                <a:gd name="T78" fmla="*/ 20 w 259"/>
                <a:gd name="T79" fmla="*/ 24 h 259"/>
                <a:gd name="T80" fmla="*/ 20 w 259"/>
                <a:gd name="T81" fmla="*/ 29 h 259"/>
                <a:gd name="T82" fmla="*/ 13 w 259"/>
                <a:gd name="T83" fmla="*/ 27 h 259"/>
                <a:gd name="T84" fmla="*/ 12 w 259"/>
                <a:gd name="T85" fmla="*/ 24 h 259"/>
                <a:gd name="T86" fmla="*/ 11 w 259"/>
                <a:gd name="T87" fmla="*/ 23 h 259"/>
                <a:gd name="T88" fmla="*/ 11 w 259"/>
                <a:gd name="T89" fmla="*/ 22 h 259"/>
                <a:gd name="T90" fmla="*/ 11 w 259"/>
                <a:gd name="T91" fmla="*/ 21 h 259"/>
                <a:gd name="T92" fmla="*/ 12 w 259"/>
                <a:gd name="T93" fmla="*/ 20 h 259"/>
                <a:gd name="T94" fmla="*/ 12 w 259"/>
                <a:gd name="T95" fmla="*/ 19 h 259"/>
                <a:gd name="T96" fmla="*/ 10 w 259"/>
                <a:gd name="T97" fmla="*/ 17 h 259"/>
                <a:gd name="T98" fmla="*/ 3 w 259"/>
                <a:gd name="T99" fmla="*/ 17 h 259"/>
                <a:gd name="T100" fmla="*/ 2 w 259"/>
                <a:gd name="T101" fmla="*/ 18 h 259"/>
                <a:gd name="T102" fmla="*/ 2 w 259"/>
                <a:gd name="T103" fmla="*/ 19 h 259"/>
                <a:gd name="T104" fmla="*/ 1 w 259"/>
                <a:gd name="T105" fmla="*/ 21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 w 72"/>
                <a:gd name="T1" fmla="*/ 5 h 92"/>
                <a:gd name="T2" fmla="*/ 7 w 72"/>
                <a:gd name="T3" fmla="*/ 10 h 92"/>
                <a:gd name="T4" fmla="*/ 7 w 72"/>
                <a:gd name="T5" fmla="*/ 10 h 92"/>
                <a:gd name="T6" fmla="*/ 6 w 72"/>
                <a:gd name="T7" fmla="*/ 9 h 92"/>
                <a:gd name="T8" fmla="*/ 5 w 72"/>
                <a:gd name="T9" fmla="*/ 8 h 92"/>
                <a:gd name="T10" fmla="*/ 5 w 72"/>
                <a:gd name="T11" fmla="*/ 8 h 92"/>
                <a:gd name="T12" fmla="*/ 4 w 72"/>
                <a:gd name="T13" fmla="*/ 7 h 92"/>
                <a:gd name="T14" fmla="*/ 3 w 72"/>
                <a:gd name="T15" fmla="*/ 5 h 92"/>
                <a:gd name="T16" fmla="*/ 3 w 72"/>
                <a:gd name="T17" fmla="*/ 4 h 92"/>
                <a:gd name="T18" fmla="*/ 2 w 72"/>
                <a:gd name="T19" fmla="*/ 3 h 92"/>
                <a:gd name="T20" fmla="*/ 1 w 72"/>
                <a:gd name="T21" fmla="*/ 1 h 92"/>
                <a:gd name="T22" fmla="*/ 0 w 72"/>
                <a:gd name="T23" fmla="*/ 0 h 92"/>
                <a:gd name="T24" fmla="*/ 3 w 72"/>
                <a:gd name="T25" fmla="*/ 1 h 92"/>
                <a:gd name="T26" fmla="*/ 4 w 72"/>
                <a:gd name="T27" fmla="*/ 2 h 92"/>
                <a:gd name="T28" fmla="*/ 5 w 72"/>
                <a:gd name="T29" fmla="*/ 3 h 92"/>
                <a:gd name="T30" fmla="*/ 6 w 72"/>
                <a:gd name="T31" fmla="*/ 3 h 92"/>
                <a:gd name="T32" fmla="*/ 7 w 72"/>
                <a:gd name="T33" fmla="*/ 4 h 92"/>
                <a:gd name="T34" fmla="*/ 7 w 72"/>
                <a:gd name="T35" fmla="*/ 5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1 w 46"/>
                <a:gd name="T1" fmla="*/ 1 h 62"/>
                <a:gd name="T2" fmla="*/ 2 w 46"/>
                <a:gd name="T3" fmla="*/ 1 h 62"/>
                <a:gd name="T4" fmla="*/ 4 w 46"/>
                <a:gd name="T5" fmla="*/ 0 h 62"/>
                <a:gd name="T6" fmla="*/ 5 w 46"/>
                <a:gd name="T7" fmla="*/ 0 h 62"/>
                <a:gd name="T8" fmla="*/ 6 w 46"/>
                <a:gd name="T9" fmla="*/ 0 h 62"/>
                <a:gd name="T10" fmla="*/ 6 w 46"/>
                <a:gd name="T11" fmla="*/ 1 h 62"/>
                <a:gd name="T12" fmla="*/ 6 w 46"/>
                <a:gd name="T13" fmla="*/ 2 h 62"/>
                <a:gd name="T14" fmla="*/ 6 w 46"/>
                <a:gd name="T15" fmla="*/ 3 h 62"/>
                <a:gd name="T16" fmla="*/ 6 w 46"/>
                <a:gd name="T17" fmla="*/ 4 h 62"/>
                <a:gd name="T18" fmla="*/ 6 w 46"/>
                <a:gd name="T19" fmla="*/ 5 h 62"/>
                <a:gd name="T20" fmla="*/ 5 w 46"/>
                <a:gd name="T21" fmla="*/ 6 h 62"/>
                <a:gd name="T22" fmla="*/ 5 w 46"/>
                <a:gd name="T23" fmla="*/ 6 h 62"/>
                <a:gd name="T24" fmla="*/ 5 w 46"/>
                <a:gd name="T25" fmla="*/ 7 h 62"/>
                <a:gd name="T26" fmla="*/ 4 w 46"/>
                <a:gd name="T27" fmla="*/ 7 h 62"/>
                <a:gd name="T28" fmla="*/ 4 w 46"/>
                <a:gd name="T29" fmla="*/ 7 h 62"/>
                <a:gd name="T30" fmla="*/ 3 w 46"/>
                <a:gd name="T31" fmla="*/ 7 h 62"/>
                <a:gd name="T32" fmla="*/ 3 w 46"/>
                <a:gd name="T33" fmla="*/ 7 h 62"/>
                <a:gd name="T34" fmla="*/ 2 w 46"/>
                <a:gd name="T35" fmla="*/ 7 h 62"/>
                <a:gd name="T36" fmla="*/ 2 w 46"/>
                <a:gd name="T37" fmla="*/ 6 h 62"/>
                <a:gd name="T38" fmla="*/ 1 w 46"/>
                <a:gd name="T39" fmla="*/ 6 h 62"/>
                <a:gd name="T40" fmla="*/ 1 w 46"/>
                <a:gd name="T41" fmla="*/ 6 h 62"/>
                <a:gd name="T42" fmla="*/ 1 w 46"/>
                <a:gd name="T43" fmla="*/ 5 h 62"/>
                <a:gd name="T44" fmla="*/ 0 w 46"/>
                <a:gd name="T45" fmla="*/ 5 h 62"/>
                <a:gd name="T46" fmla="*/ 0 w 46"/>
                <a:gd name="T47" fmla="*/ 4 h 62"/>
                <a:gd name="T48" fmla="*/ 0 w 46"/>
                <a:gd name="T49" fmla="*/ 3 h 62"/>
                <a:gd name="T50" fmla="*/ 0 w 46"/>
                <a:gd name="T51" fmla="*/ 2 h 62"/>
                <a:gd name="T52" fmla="*/ 0 w 46"/>
                <a:gd name="T53" fmla="*/ 1 h 62"/>
                <a:gd name="T54" fmla="*/ 1 w 46"/>
                <a:gd name="T55" fmla="*/ 1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6 w 152"/>
                <a:gd name="T1" fmla="*/ 0 h 296"/>
                <a:gd name="T2" fmla="*/ 7 w 152"/>
                <a:gd name="T3" fmla="*/ 1 h 296"/>
                <a:gd name="T4" fmla="*/ 8 w 152"/>
                <a:gd name="T5" fmla="*/ 2 h 296"/>
                <a:gd name="T6" fmla="*/ 10 w 152"/>
                <a:gd name="T7" fmla="*/ 3 h 296"/>
                <a:gd name="T8" fmla="*/ 11 w 152"/>
                <a:gd name="T9" fmla="*/ 3 h 296"/>
                <a:gd name="T10" fmla="*/ 12 w 152"/>
                <a:gd name="T11" fmla="*/ 2 h 296"/>
                <a:gd name="T12" fmla="*/ 13 w 152"/>
                <a:gd name="T13" fmla="*/ 1 h 296"/>
                <a:gd name="T14" fmla="*/ 13 w 152"/>
                <a:gd name="T15" fmla="*/ 4 h 296"/>
                <a:gd name="T16" fmla="*/ 14 w 152"/>
                <a:gd name="T17" fmla="*/ 7 h 296"/>
                <a:gd name="T18" fmla="*/ 15 w 152"/>
                <a:gd name="T19" fmla="*/ 9 h 296"/>
                <a:gd name="T20" fmla="*/ 16 w 152"/>
                <a:gd name="T21" fmla="*/ 10 h 296"/>
                <a:gd name="T22" fmla="*/ 16 w 152"/>
                <a:gd name="T23" fmla="*/ 11 h 296"/>
                <a:gd name="T24" fmla="*/ 15 w 152"/>
                <a:gd name="T25" fmla="*/ 13 h 296"/>
                <a:gd name="T26" fmla="*/ 14 w 152"/>
                <a:gd name="T27" fmla="*/ 15 h 296"/>
                <a:gd name="T28" fmla="*/ 13 w 152"/>
                <a:gd name="T29" fmla="*/ 17 h 296"/>
                <a:gd name="T30" fmla="*/ 12 w 152"/>
                <a:gd name="T31" fmla="*/ 19 h 296"/>
                <a:gd name="T32" fmla="*/ 13 w 152"/>
                <a:gd name="T33" fmla="*/ 22 h 296"/>
                <a:gd name="T34" fmla="*/ 13 w 152"/>
                <a:gd name="T35" fmla="*/ 23 h 296"/>
                <a:gd name="T36" fmla="*/ 12 w 152"/>
                <a:gd name="T37" fmla="*/ 24 h 296"/>
                <a:gd name="T38" fmla="*/ 13 w 152"/>
                <a:gd name="T39" fmla="*/ 24 h 296"/>
                <a:gd name="T40" fmla="*/ 16 w 152"/>
                <a:gd name="T41" fmla="*/ 24 h 296"/>
                <a:gd name="T42" fmla="*/ 15 w 152"/>
                <a:gd name="T43" fmla="*/ 27 h 296"/>
                <a:gd name="T44" fmla="*/ 15 w 152"/>
                <a:gd name="T45" fmla="*/ 29 h 296"/>
                <a:gd name="T46" fmla="*/ 16 w 152"/>
                <a:gd name="T47" fmla="*/ 31 h 296"/>
                <a:gd name="T48" fmla="*/ 13 w 152"/>
                <a:gd name="T49" fmla="*/ 32 h 296"/>
                <a:gd name="T50" fmla="*/ 12 w 152"/>
                <a:gd name="T51" fmla="*/ 32 h 296"/>
                <a:gd name="T52" fmla="*/ 9 w 152"/>
                <a:gd name="T53" fmla="*/ 32 h 296"/>
                <a:gd name="T54" fmla="*/ 8 w 152"/>
                <a:gd name="T55" fmla="*/ 31 h 296"/>
                <a:gd name="T56" fmla="*/ 7 w 152"/>
                <a:gd name="T57" fmla="*/ 31 h 296"/>
                <a:gd name="T58" fmla="*/ 7 w 152"/>
                <a:gd name="T59" fmla="*/ 30 h 296"/>
                <a:gd name="T60" fmla="*/ 9 w 152"/>
                <a:gd name="T61" fmla="*/ 28 h 296"/>
                <a:gd name="T62" fmla="*/ 8 w 152"/>
                <a:gd name="T63" fmla="*/ 27 h 296"/>
                <a:gd name="T64" fmla="*/ 6 w 152"/>
                <a:gd name="T65" fmla="*/ 26 h 296"/>
                <a:gd name="T66" fmla="*/ 4 w 152"/>
                <a:gd name="T67" fmla="*/ 25 h 296"/>
                <a:gd name="T68" fmla="*/ 3 w 152"/>
                <a:gd name="T69" fmla="*/ 24 h 296"/>
                <a:gd name="T70" fmla="*/ 2 w 152"/>
                <a:gd name="T71" fmla="*/ 23 h 296"/>
                <a:gd name="T72" fmla="*/ 1 w 152"/>
                <a:gd name="T73" fmla="*/ 21 h 296"/>
                <a:gd name="T74" fmla="*/ 0 w 152"/>
                <a:gd name="T75" fmla="*/ 19 h 296"/>
                <a:gd name="T76" fmla="*/ 0 w 152"/>
                <a:gd name="T77" fmla="*/ 17 h 296"/>
                <a:gd name="T78" fmla="*/ 0 w 152"/>
                <a:gd name="T79" fmla="*/ 14 h 296"/>
                <a:gd name="T80" fmla="*/ 3 w 152"/>
                <a:gd name="T81" fmla="*/ 12 h 296"/>
                <a:gd name="T82" fmla="*/ 4 w 152"/>
                <a:gd name="T83" fmla="*/ 5 h 296"/>
                <a:gd name="T84" fmla="*/ 3 w 152"/>
                <a:gd name="T85" fmla="*/ 2 h 296"/>
                <a:gd name="T86" fmla="*/ 3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 w 26"/>
                <a:gd name="T1" fmla="*/ 4 h 38"/>
                <a:gd name="T2" fmla="*/ 2 w 26"/>
                <a:gd name="T3" fmla="*/ 0 h 38"/>
                <a:gd name="T4" fmla="*/ 2 w 26"/>
                <a:gd name="T5" fmla="*/ 0 h 38"/>
                <a:gd name="T6" fmla="*/ 1 w 26"/>
                <a:gd name="T7" fmla="*/ 0 h 38"/>
                <a:gd name="T8" fmla="*/ 1 w 26"/>
                <a:gd name="T9" fmla="*/ 1 h 38"/>
                <a:gd name="T10" fmla="*/ 0 w 26"/>
                <a:gd name="T11" fmla="*/ 1 h 38"/>
                <a:gd name="T12" fmla="*/ 2 w 26"/>
                <a:gd name="T13" fmla="*/ 3 h 38"/>
                <a:gd name="T14" fmla="*/ 2 w 26"/>
                <a:gd name="T15" fmla="*/ 4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2 h 31"/>
                <a:gd name="T2" fmla="*/ 1 w 34"/>
                <a:gd name="T3" fmla="*/ 2 h 31"/>
                <a:gd name="T4" fmla="*/ 1 w 34"/>
                <a:gd name="T5" fmla="*/ 3 h 31"/>
                <a:gd name="T6" fmla="*/ 2 w 34"/>
                <a:gd name="T7" fmla="*/ 3 h 31"/>
                <a:gd name="T8" fmla="*/ 3 w 34"/>
                <a:gd name="T9" fmla="*/ 3 h 31"/>
                <a:gd name="T10" fmla="*/ 3 w 34"/>
                <a:gd name="T11" fmla="*/ 3 h 31"/>
                <a:gd name="T12" fmla="*/ 3 w 34"/>
                <a:gd name="T13" fmla="*/ 2 h 31"/>
                <a:gd name="T14" fmla="*/ 2 w 34"/>
                <a:gd name="T15" fmla="*/ 1 h 31"/>
                <a:gd name="T16" fmla="*/ 2 w 34"/>
                <a:gd name="T17" fmla="*/ 0 h 31"/>
                <a:gd name="T18" fmla="*/ 1 w 34"/>
                <a:gd name="T19" fmla="*/ 1 h 31"/>
                <a:gd name="T20" fmla="*/ 1 w 34"/>
                <a:gd name="T21" fmla="*/ 1 h 31"/>
                <a:gd name="T22" fmla="*/ 1 w 34"/>
                <a:gd name="T23" fmla="*/ 2 h 31"/>
                <a:gd name="T24" fmla="*/ 1 w 34"/>
                <a:gd name="T25" fmla="*/ 2 h 31"/>
                <a:gd name="T26" fmla="*/ 0 w 34"/>
                <a:gd name="T27" fmla="*/ 2 h 31"/>
                <a:gd name="T28" fmla="*/ 0 w 34"/>
                <a:gd name="T29" fmla="*/ 2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1 h 37"/>
                <a:gd name="T2" fmla="*/ 0 w 20"/>
                <a:gd name="T3" fmla="*/ 4 h 37"/>
                <a:gd name="T4" fmla="*/ 1 w 20"/>
                <a:gd name="T5" fmla="*/ 4 h 37"/>
                <a:gd name="T6" fmla="*/ 2 w 20"/>
                <a:gd name="T7" fmla="*/ 3 h 37"/>
                <a:gd name="T8" fmla="*/ 2 w 20"/>
                <a:gd name="T9" fmla="*/ 0 h 37"/>
                <a:gd name="T10" fmla="*/ 0 w 20"/>
                <a:gd name="T11" fmla="*/ 1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2 h 18"/>
                <a:gd name="T2" fmla="*/ 0 w 13"/>
                <a:gd name="T3" fmla="*/ 1 h 18"/>
                <a:gd name="T4" fmla="*/ 0 w 13"/>
                <a:gd name="T5" fmla="*/ 1 h 18"/>
                <a:gd name="T6" fmla="*/ 1 w 13"/>
                <a:gd name="T7" fmla="*/ 0 h 18"/>
                <a:gd name="T8" fmla="*/ 1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 w 27"/>
                <a:gd name="T3" fmla="*/ 3 h 31"/>
                <a:gd name="T4" fmla="*/ 3 w 27"/>
                <a:gd name="T5" fmla="*/ 1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 w 20"/>
                <a:gd name="T1" fmla="*/ 0 h 1"/>
                <a:gd name="T2" fmla="*/ 1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2 h 13"/>
                <a:gd name="T2" fmla="*/ 1 w 34"/>
                <a:gd name="T3" fmla="*/ 2 h 13"/>
                <a:gd name="T4" fmla="*/ 1 w 34"/>
                <a:gd name="T5" fmla="*/ 2 h 13"/>
                <a:gd name="T6" fmla="*/ 2 w 34"/>
                <a:gd name="T7" fmla="*/ 2 h 13"/>
                <a:gd name="T8" fmla="*/ 2 w 34"/>
                <a:gd name="T9" fmla="*/ 1 h 13"/>
                <a:gd name="T10" fmla="*/ 4 w 34"/>
                <a:gd name="T11" fmla="*/ 0 h 13"/>
                <a:gd name="T12" fmla="*/ 4 w 34"/>
                <a:gd name="T13" fmla="*/ 0 h 13"/>
                <a:gd name="T14" fmla="*/ 3 w 34"/>
                <a:gd name="T15" fmla="*/ 0 h 13"/>
                <a:gd name="T16" fmla="*/ 2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4 w 34"/>
                <a:gd name="T1" fmla="*/ 2 h 18"/>
                <a:gd name="T2" fmla="*/ 4 w 34"/>
                <a:gd name="T3" fmla="*/ 0 h 18"/>
                <a:gd name="T4" fmla="*/ 4 w 34"/>
                <a:gd name="T5" fmla="*/ 0 h 18"/>
                <a:gd name="T6" fmla="*/ 2 w 34"/>
                <a:gd name="T7" fmla="*/ 0 h 18"/>
                <a:gd name="T8" fmla="*/ 1 w 34"/>
                <a:gd name="T9" fmla="*/ 0 h 18"/>
                <a:gd name="T10" fmla="*/ 0 w 34"/>
                <a:gd name="T11" fmla="*/ 0 h 18"/>
                <a:gd name="T12" fmla="*/ 4 w 34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6 w 59"/>
                <a:gd name="T1" fmla="*/ 3 h 25"/>
                <a:gd name="T2" fmla="*/ 6 w 59"/>
                <a:gd name="T3" fmla="*/ 1 h 25"/>
                <a:gd name="T4" fmla="*/ 7 w 59"/>
                <a:gd name="T5" fmla="*/ 0 h 25"/>
                <a:gd name="T6" fmla="*/ 5 w 59"/>
                <a:gd name="T7" fmla="*/ 0 h 25"/>
                <a:gd name="T8" fmla="*/ 3 w 59"/>
                <a:gd name="T9" fmla="*/ 0 h 25"/>
                <a:gd name="T10" fmla="*/ 2 w 59"/>
                <a:gd name="T11" fmla="*/ 0 h 25"/>
                <a:gd name="T12" fmla="*/ 1 w 59"/>
                <a:gd name="T13" fmla="*/ 0 h 25"/>
                <a:gd name="T14" fmla="*/ 1 w 59"/>
                <a:gd name="T15" fmla="*/ 0 h 25"/>
                <a:gd name="T16" fmla="*/ 0 w 59"/>
                <a:gd name="T17" fmla="*/ 1 h 25"/>
                <a:gd name="T18" fmla="*/ 1 w 59"/>
                <a:gd name="T19" fmla="*/ 1 h 25"/>
                <a:gd name="T20" fmla="*/ 3 w 59"/>
                <a:gd name="T21" fmla="*/ 2 h 25"/>
                <a:gd name="T22" fmla="*/ 4 w 59"/>
                <a:gd name="T23" fmla="*/ 2 h 25"/>
                <a:gd name="T24" fmla="*/ 4 w 59"/>
                <a:gd name="T25" fmla="*/ 3 h 25"/>
                <a:gd name="T26" fmla="*/ 5 w 59"/>
                <a:gd name="T27" fmla="*/ 3 h 25"/>
                <a:gd name="T28" fmla="*/ 6 w 59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36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570244" y="6445094"/>
            <a:ext cx="14288" cy="55563"/>
          </a:xfrm>
          <a:custGeom>
            <a:avLst/>
            <a:gdLst>
              <a:gd name="T0" fmla="*/ 0 w 33"/>
              <a:gd name="T1" fmla="*/ 71796441 h 43"/>
              <a:gd name="T2" fmla="*/ 187476 w 33"/>
              <a:gd name="T3" fmla="*/ 56769880 h 43"/>
              <a:gd name="T4" fmla="*/ 374952 w 33"/>
              <a:gd name="T5" fmla="*/ 45080975 h 43"/>
              <a:gd name="T6" fmla="*/ 937379 w 33"/>
              <a:gd name="T7" fmla="*/ 35062837 h 43"/>
              <a:gd name="T8" fmla="*/ 1687283 w 33"/>
              <a:gd name="T9" fmla="*/ 25044699 h 43"/>
              <a:gd name="T10" fmla="*/ 2624662 w 33"/>
              <a:gd name="T11" fmla="*/ 15026561 h 43"/>
              <a:gd name="T12" fmla="*/ 3749085 w 33"/>
              <a:gd name="T13" fmla="*/ 8348664 h 43"/>
              <a:gd name="T14" fmla="*/ 4873940 w 33"/>
              <a:gd name="T15" fmla="*/ 3338949 h 43"/>
              <a:gd name="T16" fmla="*/ 6186271 w 33"/>
              <a:gd name="T17" fmla="*/ 0 h 43"/>
              <a:gd name="T18" fmla="*/ 6186271 w 33"/>
              <a:gd name="T19" fmla="*/ 41742027 h 43"/>
              <a:gd name="T20" fmla="*/ 4311512 w 33"/>
              <a:gd name="T21" fmla="*/ 45080975 h 43"/>
              <a:gd name="T22" fmla="*/ 3374133 w 33"/>
              <a:gd name="T23" fmla="*/ 48421216 h 43"/>
              <a:gd name="T24" fmla="*/ 2999614 w 33"/>
              <a:gd name="T25" fmla="*/ 53429639 h 43"/>
              <a:gd name="T26" fmla="*/ 2999614 w 33"/>
              <a:gd name="T27" fmla="*/ 56769880 h 43"/>
              <a:gd name="T28" fmla="*/ 2999614 w 33"/>
              <a:gd name="T29" fmla="*/ 60108829 h 43"/>
              <a:gd name="T30" fmla="*/ 2624662 w 33"/>
              <a:gd name="T31" fmla="*/ 63447777 h 43"/>
              <a:gd name="T32" fmla="*/ 1874759 w 33"/>
              <a:gd name="T33" fmla="*/ 68457492 h 43"/>
              <a:gd name="T34" fmla="*/ 0 w 33"/>
              <a:gd name="T35" fmla="*/ 71796441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646444" y="6384769"/>
            <a:ext cx="22225" cy="58738"/>
          </a:xfrm>
          <a:custGeom>
            <a:avLst/>
            <a:gdLst>
              <a:gd name="T0" fmla="*/ 0 w 54"/>
              <a:gd name="T1" fmla="*/ 22419401 h 92"/>
              <a:gd name="T2" fmla="*/ 169569 w 54"/>
              <a:gd name="T3" fmla="*/ 20788783 h 92"/>
              <a:gd name="T4" fmla="*/ 338725 w 54"/>
              <a:gd name="T5" fmla="*/ 18750830 h 92"/>
              <a:gd name="T6" fmla="*/ 508294 w 54"/>
              <a:gd name="T7" fmla="*/ 17120212 h 92"/>
              <a:gd name="T8" fmla="*/ 1016176 w 54"/>
              <a:gd name="T9" fmla="*/ 15082258 h 92"/>
              <a:gd name="T10" fmla="*/ 1863196 w 54"/>
              <a:gd name="T11" fmla="*/ 11821022 h 92"/>
              <a:gd name="T12" fmla="*/ 3048941 w 54"/>
              <a:gd name="T13" fmla="*/ 8560425 h 92"/>
              <a:gd name="T14" fmla="*/ 5251274 w 54"/>
              <a:gd name="T15" fmla="*/ 2853262 h 92"/>
              <a:gd name="T16" fmla="*/ 6945313 w 54"/>
              <a:gd name="T17" fmla="*/ 0 h 92"/>
              <a:gd name="T18" fmla="*/ 9147234 w 54"/>
              <a:gd name="T19" fmla="*/ 4891215 h 92"/>
              <a:gd name="T20" fmla="*/ 8638940 w 54"/>
              <a:gd name="T21" fmla="*/ 8560425 h 92"/>
              <a:gd name="T22" fmla="*/ 7961489 w 54"/>
              <a:gd name="T23" fmla="*/ 11821022 h 92"/>
              <a:gd name="T24" fmla="*/ 7453195 w 54"/>
              <a:gd name="T25" fmla="*/ 14266949 h 92"/>
              <a:gd name="T26" fmla="*/ 6945313 w 54"/>
              <a:gd name="T27" fmla="*/ 16712876 h 92"/>
              <a:gd name="T28" fmla="*/ 5589999 w 54"/>
              <a:gd name="T29" fmla="*/ 19973474 h 92"/>
              <a:gd name="T30" fmla="*/ 4742980 w 54"/>
              <a:gd name="T31" fmla="*/ 22419401 h 92"/>
              <a:gd name="T32" fmla="*/ 4404254 w 54"/>
              <a:gd name="T33" fmla="*/ 26087972 h 92"/>
              <a:gd name="T34" fmla="*/ 4404254 w 54"/>
              <a:gd name="T35" fmla="*/ 30164517 h 92"/>
              <a:gd name="T36" fmla="*/ 4065529 w 54"/>
              <a:gd name="T37" fmla="*/ 33833088 h 92"/>
              <a:gd name="T38" fmla="*/ 3387666 w 54"/>
              <a:gd name="T39" fmla="*/ 37501659 h 92"/>
              <a:gd name="T40" fmla="*/ 2371490 w 54"/>
              <a:gd name="T41" fmla="*/ 33833088 h 92"/>
              <a:gd name="T42" fmla="*/ 1355313 w 54"/>
              <a:gd name="T43" fmla="*/ 30164517 h 92"/>
              <a:gd name="T44" fmla="*/ 847019 w 54"/>
              <a:gd name="T45" fmla="*/ 28533899 h 92"/>
              <a:gd name="T46" fmla="*/ 338725 w 54"/>
              <a:gd name="T47" fmla="*/ 26087972 h 92"/>
              <a:gd name="T48" fmla="*/ 169569 w 54"/>
              <a:gd name="T49" fmla="*/ 24457354 h 92"/>
              <a:gd name="T50" fmla="*/ 0 w 54"/>
              <a:gd name="T51" fmla="*/ 22419401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694069" y="6264119"/>
            <a:ext cx="23813" cy="57150"/>
          </a:xfrm>
          <a:custGeom>
            <a:avLst/>
            <a:gdLst>
              <a:gd name="T0" fmla="*/ 0 w 60"/>
              <a:gd name="T1" fmla="*/ 0 h 18"/>
              <a:gd name="T2" fmla="*/ 2992897 w 60"/>
              <a:gd name="T3" fmla="*/ 40322500 h 18"/>
              <a:gd name="T4" fmla="*/ 5828232 w 60"/>
              <a:gd name="T5" fmla="*/ 90725625 h 18"/>
              <a:gd name="T6" fmla="*/ 7088336 w 60"/>
              <a:gd name="T7" fmla="*/ 110886875 h 18"/>
              <a:gd name="T8" fmla="*/ 8033316 w 60"/>
              <a:gd name="T9" fmla="*/ 131048125 h 18"/>
              <a:gd name="T10" fmla="*/ 8820732 w 60"/>
              <a:gd name="T11" fmla="*/ 161290000 h 18"/>
              <a:gd name="T12" fmla="*/ 9450983 w 60"/>
              <a:gd name="T13" fmla="*/ 181451250 h 18"/>
              <a:gd name="T14" fmla="*/ 5985794 w 60"/>
              <a:gd name="T15" fmla="*/ 181451250 h 18"/>
              <a:gd name="T16" fmla="*/ 3622751 w 60"/>
              <a:gd name="T17" fmla="*/ 181451250 h 18"/>
              <a:gd name="T18" fmla="*/ 1575230 w 60"/>
              <a:gd name="T19" fmla="*/ 181451250 h 18"/>
              <a:gd name="T20" fmla="*/ 0 w 60"/>
              <a:gd name="T21" fmla="*/ 1814512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678194" y="6233957"/>
            <a:ext cx="25400" cy="57150"/>
          </a:xfrm>
          <a:custGeom>
            <a:avLst/>
            <a:gdLst>
              <a:gd name="T0" fmla="*/ 0 w 66"/>
              <a:gd name="T1" fmla="*/ 181451250 h 18"/>
              <a:gd name="T2" fmla="*/ 9775152 w 66"/>
              <a:gd name="T3" fmla="*/ 181451250 h 18"/>
              <a:gd name="T4" fmla="*/ 7701588 w 66"/>
              <a:gd name="T5" fmla="*/ 131048125 h 18"/>
              <a:gd name="T6" fmla="*/ 5924358 w 66"/>
              <a:gd name="T7" fmla="*/ 70564375 h 18"/>
              <a:gd name="T8" fmla="*/ 5183909 w 66"/>
              <a:gd name="T9" fmla="*/ 40322500 h 18"/>
              <a:gd name="T10" fmla="*/ 4295294 w 66"/>
              <a:gd name="T11" fmla="*/ 20161250 h 18"/>
              <a:gd name="T12" fmla="*/ 3702627 w 66"/>
              <a:gd name="T13" fmla="*/ 10080625 h 18"/>
              <a:gd name="T14" fmla="*/ 2814012 w 66"/>
              <a:gd name="T15" fmla="*/ 0 h 18"/>
              <a:gd name="T16" fmla="*/ 0 w 66"/>
              <a:gd name="T17" fmla="*/ 1814512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503569" y="6130769"/>
            <a:ext cx="7938" cy="57150"/>
          </a:xfrm>
          <a:custGeom>
            <a:avLst/>
            <a:gdLst>
              <a:gd name="T0" fmla="*/ 0 w 17"/>
              <a:gd name="T1" fmla="*/ 66655950 h 42"/>
              <a:gd name="T2" fmla="*/ 2834333 w 17"/>
              <a:gd name="T3" fmla="*/ 77764821 h 42"/>
              <a:gd name="T4" fmla="*/ 3052394 w 17"/>
              <a:gd name="T5" fmla="*/ 61101514 h 42"/>
              <a:gd name="T6" fmla="*/ 3488518 w 17"/>
              <a:gd name="T7" fmla="*/ 42584914 h 42"/>
              <a:gd name="T8" fmla="*/ 3706579 w 17"/>
              <a:gd name="T9" fmla="*/ 33327975 h 42"/>
              <a:gd name="T10" fmla="*/ 3488518 w 17"/>
              <a:gd name="T11" fmla="*/ 22219104 h 42"/>
              <a:gd name="T12" fmla="*/ 3488518 w 17"/>
              <a:gd name="T13" fmla="*/ 11108871 h 42"/>
              <a:gd name="T14" fmla="*/ 2834333 w 17"/>
              <a:gd name="T15" fmla="*/ 0 h 42"/>
              <a:gd name="T16" fmla="*/ 0 w 17"/>
              <a:gd name="T17" fmla="*/ 66655950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430544" y="6265707"/>
            <a:ext cx="30163" cy="58737"/>
          </a:xfrm>
          <a:custGeom>
            <a:avLst/>
            <a:gdLst>
              <a:gd name="T0" fmla="*/ 1053191 w 72"/>
              <a:gd name="T1" fmla="*/ 118966730 h 29"/>
              <a:gd name="T2" fmla="*/ 2632560 w 72"/>
              <a:gd name="T3" fmla="*/ 106660316 h 29"/>
              <a:gd name="T4" fmla="*/ 4211928 w 72"/>
              <a:gd name="T5" fmla="*/ 98455364 h 29"/>
              <a:gd name="T6" fmla="*/ 5616183 w 72"/>
              <a:gd name="T7" fmla="*/ 98455364 h 29"/>
              <a:gd name="T8" fmla="*/ 6844487 w 72"/>
              <a:gd name="T9" fmla="*/ 98455364 h 29"/>
              <a:gd name="T10" fmla="*/ 9652579 w 72"/>
              <a:gd name="T11" fmla="*/ 110761779 h 29"/>
              <a:gd name="T12" fmla="*/ 12636202 w 72"/>
              <a:gd name="T13" fmla="*/ 118966730 h 29"/>
              <a:gd name="T14" fmla="*/ 12636202 w 72"/>
              <a:gd name="T15" fmla="*/ 16409903 h 29"/>
              <a:gd name="T16" fmla="*/ 10179175 w 72"/>
              <a:gd name="T17" fmla="*/ 4101463 h 29"/>
              <a:gd name="T18" fmla="*/ 8248743 w 72"/>
              <a:gd name="T19" fmla="*/ 0 h 29"/>
              <a:gd name="T20" fmla="*/ 6844487 w 72"/>
              <a:gd name="T21" fmla="*/ 0 h 29"/>
              <a:gd name="T22" fmla="*/ 5967247 w 72"/>
              <a:gd name="T23" fmla="*/ 8204951 h 29"/>
              <a:gd name="T24" fmla="*/ 4738524 w 72"/>
              <a:gd name="T25" fmla="*/ 12306414 h 29"/>
              <a:gd name="T26" fmla="*/ 3685751 w 72"/>
              <a:gd name="T27" fmla="*/ 20511365 h 29"/>
              <a:gd name="T28" fmla="*/ 2105964 w 72"/>
              <a:gd name="T29" fmla="*/ 20511365 h 29"/>
              <a:gd name="T30" fmla="*/ 0 w 72"/>
              <a:gd name="T31" fmla="*/ 16409903 h 29"/>
              <a:gd name="T32" fmla="*/ 526596 w 72"/>
              <a:gd name="T33" fmla="*/ 65637585 h 29"/>
              <a:gd name="T34" fmla="*/ 1053191 w 72"/>
              <a:gd name="T35" fmla="*/ 118966730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438482" y="6451444"/>
            <a:ext cx="19050" cy="55563"/>
          </a:xfrm>
          <a:custGeom>
            <a:avLst/>
            <a:gdLst>
              <a:gd name="T0" fmla="*/ 0 w 46"/>
              <a:gd name="T1" fmla="*/ 0 h 37"/>
              <a:gd name="T2" fmla="*/ 1543464 w 46"/>
              <a:gd name="T3" fmla="*/ 20295512 h 37"/>
              <a:gd name="T4" fmla="*/ 3430242 w 46"/>
              <a:gd name="T5" fmla="*/ 33827355 h 37"/>
              <a:gd name="T6" fmla="*/ 5316607 w 46"/>
              <a:gd name="T7" fmla="*/ 45102139 h 37"/>
              <a:gd name="T8" fmla="*/ 7889185 w 46"/>
              <a:gd name="T9" fmla="*/ 56378425 h 37"/>
              <a:gd name="T10" fmla="*/ 6345721 w 46"/>
              <a:gd name="T11" fmla="*/ 65397651 h 37"/>
              <a:gd name="T12" fmla="*/ 4973707 w 46"/>
              <a:gd name="T13" fmla="*/ 74418379 h 37"/>
              <a:gd name="T14" fmla="*/ 3601692 w 46"/>
              <a:gd name="T15" fmla="*/ 81183550 h 37"/>
              <a:gd name="T16" fmla="*/ 2229678 w 46"/>
              <a:gd name="T17" fmla="*/ 83439107 h 37"/>
              <a:gd name="T18" fmla="*/ 1543464 w 46"/>
              <a:gd name="T19" fmla="*/ 81183550 h 37"/>
              <a:gd name="T20" fmla="*/ 1200564 w 46"/>
              <a:gd name="T21" fmla="*/ 74418379 h 37"/>
              <a:gd name="T22" fmla="*/ 857664 w 46"/>
              <a:gd name="T23" fmla="*/ 65397651 h 37"/>
              <a:gd name="T24" fmla="*/ 514350 w 46"/>
              <a:gd name="T25" fmla="*/ 51867310 h 37"/>
              <a:gd name="T26" fmla="*/ 171450 w 46"/>
              <a:gd name="T27" fmla="*/ 27060683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551194" y="6270469"/>
            <a:ext cx="11113" cy="57150"/>
          </a:xfrm>
          <a:custGeom>
            <a:avLst/>
            <a:gdLst>
              <a:gd name="T0" fmla="*/ 0 w 26"/>
              <a:gd name="T1" fmla="*/ 0 h 19"/>
              <a:gd name="T2" fmla="*/ 4749953 w 26"/>
              <a:gd name="T3" fmla="*/ 171901184 h 19"/>
              <a:gd name="T4" fmla="*/ 4749953 w 26"/>
              <a:gd name="T5" fmla="*/ 81426718 h 19"/>
              <a:gd name="T6" fmla="*/ 4749953 w 26"/>
              <a:gd name="T7" fmla="*/ 0 h 19"/>
              <a:gd name="T8" fmla="*/ 2740209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411494" y="6265707"/>
            <a:ext cx="19050" cy="58737"/>
          </a:xfrm>
          <a:custGeom>
            <a:avLst/>
            <a:gdLst>
              <a:gd name="T0" fmla="*/ 392519 w 43"/>
              <a:gd name="T1" fmla="*/ 0 h 31"/>
              <a:gd name="T2" fmla="*/ 196259 w 43"/>
              <a:gd name="T3" fmla="*/ 43080747 h 31"/>
              <a:gd name="T4" fmla="*/ 0 w 43"/>
              <a:gd name="T5" fmla="*/ 82570959 h 31"/>
              <a:gd name="T6" fmla="*/ 0 w 43"/>
              <a:gd name="T7" fmla="*/ 93340672 h 31"/>
              <a:gd name="T8" fmla="*/ 0 w 43"/>
              <a:gd name="T9" fmla="*/ 104112280 h 31"/>
              <a:gd name="T10" fmla="*/ 0 w 43"/>
              <a:gd name="T11" fmla="*/ 111291457 h 31"/>
              <a:gd name="T12" fmla="*/ 392519 w 43"/>
              <a:gd name="T13" fmla="*/ 111291457 h 31"/>
              <a:gd name="T14" fmla="*/ 2551371 w 43"/>
              <a:gd name="T15" fmla="*/ 78980423 h 31"/>
              <a:gd name="T16" fmla="*/ 4906926 w 43"/>
              <a:gd name="T17" fmla="*/ 46671283 h 31"/>
              <a:gd name="T18" fmla="*/ 6869519 w 43"/>
              <a:gd name="T19" fmla="*/ 17950785 h 31"/>
              <a:gd name="T20" fmla="*/ 8439593 w 43"/>
              <a:gd name="T21" fmla="*/ 0 h 31"/>
              <a:gd name="T22" fmla="*/ 392519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455944" y="6313332"/>
            <a:ext cx="30163" cy="57150"/>
          </a:xfrm>
          <a:custGeom>
            <a:avLst/>
            <a:gdLst>
              <a:gd name="T0" fmla="*/ 721788 w 71"/>
              <a:gd name="T1" fmla="*/ 16323906 h 49"/>
              <a:gd name="T2" fmla="*/ 721788 w 71"/>
              <a:gd name="T3" fmla="*/ 24485859 h 49"/>
              <a:gd name="T4" fmla="*/ 902341 w 71"/>
              <a:gd name="T5" fmla="*/ 34007749 h 49"/>
              <a:gd name="T6" fmla="*/ 1263447 w 71"/>
              <a:gd name="T7" fmla="*/ 42169702 h 49"/>
              <a:gd name="T8" fmla="*/ 1624129 w 71"/>
              <a:gd name="T9" fmla="*/ 50331655 h 49"/>
              <a:gd name="T10" fmla="*/ 2526895 w 71"/>
              <a:gd name="T11" fmla="*/ 55772568 h 49"/>
              <a:gd name="T12" fmla="*/ 3248683 w 71"/>
              <a:gd name="T13" fmla="*/ 62574585 h 49"/>
              <a:gd name="T14" fmla="*/ 4151024 w 71"/>
              <a:gd name="T15" fmla="*/ 65295624 h 49"/>
              <a:gd name="T16" fmla="*/ 5414471 w 71"/>
              <a:gd name="T17" fmla="*/ 66655561 h 49"/>
              <a:gd name="T18" fmla="*/ 6316812 w 71"/>
              <a:gd name="T19" fmla="*/ 65295624 h 49"/>
              <a:gd name="T20" fmla="*/ 7219153 w 71"/>
              <a:gd name="T21" fmla="*/ 62574585 h 49"/>
              <a:gd name="T22" fmla="*/ 8121494 w 71"/>
              <a:gd name="T23" fmla="*/ 57133671 h 49"/>
              <a:gd name="T24" fmla="*/ 9024260 w 71"/>
              <a:gd name="T25" fmla="*/ 50331655 h 49"/>
              <a:gd name="T26" fmla="*/ 10828942 w 71"/>
              <a:gd name="T27" fmla="*/ 38088726 h 49"/>
              <a:gd name="T28" fmla="*/ 12814177 w 71"/>
              <a:gd name="T29" fmla="*/ 24485859 h 49"/>
              <a:gd name="T30" fmla="*/ 11009495 w 71"/>
              <a:gd name="T31" fmla="*/ 16323906 h 49"/>
              <a:gd name="T32" fmla="*/ 9384941 w 71"/>
              <a:gd name="T33" fmla="*/ 12242930 h 49"/>
              <a:gd name="T34" fmla="*/ 7941366 w 71"/>
              <a:gd name="T35" fmla="*/ 9521890 h 49"/>
              <a:gd name="T36" fmla="*/ 6677918 w 71"/>
              <a:gd name="T37" fmla="*/ 8161953 h 49"/>
              <a:gd name="T38" fmla="*/ 5233918 w 71"/>
              <a:gd name="T39" fmla="*/ 8161953 h 49"/>
              <a:gd name="T40" fmla="*/ 3789917 w 71"/>
              <a:gd name="T41" fmla="*/ 6802016 h 49"/>
              <a:gd name="T42" fmla="*/ 2526895 w 71"/>
              <a:gd name="T43" fmla="*/ 4080977 h 49"/>
              <a:gd name="T44" fmla="*/ 721788 w 71"/>
              <a:gd name="T45" fmla="*/ 0 h 49"/>
              <a:gd name="T46" fmla="*/ 541235 w 71"/>
              <a:gd name="T47" fmla="*/ 1359937 h 49"/>
              <a:gd name="T48" fmla="*/ 180553 w 71"/>
              <a:gd name="T49" fmla="*/ 8161953 h 49"/>
              <a:gd name="T50" fmla="*/ 0 w 71"/>
              <a:gd name="T51" fmla="*/ 10882993 h 49"/>
              <a:gd name="T52" fmla="*/ 0 w 71"/>
              <a:gd name="T53" fmla="*/ 13602866 h 49"/>
              <a:gd name="T54" fmla="*/ 180553 w 71"/>
              <a:gd name="T55" fmla="*/ 14963969 h 49"/>
              <a:gd name="T56" fmla="*/ 721788 w 71"/>
              <a:gd name="T57" fmla="*/ 1632390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257507" y="6516532"/>
            <a:ext cx="46037" cy="58737"/>
          </a:xfrm>
          <a:custGeom>
            <a:avLst/>
            <a:gdLst>
              <a:gd name="T0" fmla="*/ 7772032 w 112"/>
              <a:gd name="T1" fmla="*/ 10206683 h 26"/>
              <a:gd name="T2" fmla="*/ 9461837 w 112"/>
              <a:gd name="T3" fmla="*/ 10206683 h 26"/>
              <a:gd name="T4" fmla="*/ 11151230 w 112"/>
              <a:gd name="T5" fmla="*/ 15310025 h 26"/>
              <a:gd name="T6" fmla="*/ 12502745 w 112"/>
              <a:gd name="T7" fmla="*/ 20413367 h 26"/>
              <a:gd name="T8" fmla="*/ 14192549 w 112"/>
              <a:gd name="T9" fmla="*/ 30622309 h 26"/>
              <a:gd name="T10" fmla="*/ 15544064 w 112"/>
              <a:gd name="T11" fmla="*/ 45932334 h 26"/>
              <a:gd name="T12" fmla="*/ 16895579 w 112"/>
              <a:gd name="T13" fmla="*/ 61242359 h 26"/>
              <a:gd name="T14" fmla="*/ 17909626 w 112"/>
              <a:gd name="T15" fmla="*/ 81657985 h 26"/>
              <a:gd name="T16" fmla="*/ 18923262 w 112"/>
              <a:gd name="T17" fmla="*/ 102071351 h 26"/>
              <a:gd name="T18" fmla="*/ 18585384 w 112"/>
              <a:gd name="T19" fmla="*/ 112280294 h 26"/>
              <a:gd name="T20" fmla="*/ 17740687 w 112"/>
              <a:gd name="T21" fmla="*/ 117383635 h 26"/>
              <a:gd name="T22" fmla="*/ 17064929 w 112"/>
              <a:gd name="T23" fmla="*/ 127590319 h 26"/>
              <a:gd name="T24" fmla="*/ 16050882 w 112"/>
              <a:gd name="T25" fmla="*/ 127590319 h 26"/>
              <a:gd name="T26" fmla="*/ 14699367 w 112"/>
              <a:gd name="T27" fmla="*/ 132693660 h 26"/>
              <a:gd name="T28" fmla="*/ 13347853 w 112"/>
              <a:gd name="T29" fmla="*/ 132693660 h 26"/>
              <a:gd name="T30" fmla="*/ 11151230 w 112"/>
              <a:gd name="T31" fmla="*/ 122486977 h 26"/>
              <a:gd name="T32" fmla="*/ 6927335 w 112"/>
              <a:gd name="T33" fmla="*/ 96968010 h 26"/>
              <a:gd name="T34" fmla="*/ 2703441 w 112"/>
              <a:gd name="T35" fmla="*/ 66347960 h 26"/>
              <a:gd name="T36" fmla="*/ 0 w 112"/>
              <a:gd name="T37" fmla="*/ 40828992 h 26"/>
              <a:gd name="T38" fmla="*/ 844697 w 112"/>
              <a:gd name="T39" fmla="*/ 20413367 h 26"/>
              <a:gd name="T40" fmla="*/ 1858333 w 112"/>
              <a:gd name="T41" fmla="*/ 10206683 h 26"/>
              <a:gd name="T42" fmla="*/ 3041319 w 112"/>
              <a:gd name="T43" fmla="*/ 5103342 h 26"/>
              <a:gd name="T44" fmla="*/ 4223895 w 112"/>
              <a:gd name="T45" fmla="*/ 0 h 26"/>
              <a:gd name="T46" fmla="*/ 6251578 w 112"/>
              <a:gd name="T47" fmla="*/ 5103342 h 26"/>
              <a:gd name="T48" fmla="*/ 7772032 w 112"/>
              <a:gd name="T49" fmla="*/ 10206683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355932" y="6554632"/>
            <a:ext cx="14287" cy="58737"/>
          </a:xfrm>
          <a:custGeom>
            <a:avLst/>
            <a:gdLst>
              <a:gd name="T0" fmla="*/ 0 w 41"/>
              <a:gd name="T1" fmla="*/ 0 h 25"/>
              <a:gd name="T2" fmla="*/ 4978497 w 41"/>
              <a:gd name="T3" fmla="*/ 0 h 25"/>
              <a:gd name="T4" fmla="*/ 3399958 w 41"/>
              <a:gd name="T5" fmla="*/ 44160826 h 25"/>
              <a:gd name="T6" fmla="*/ 2185563 w 41"/>
              <a:gd name="T7" fmla="*/ 82800374 h 25"/>
              <a:gd name="T8" fmla="*/ 1092781 w 41"/>
              <a:gd name="T9" fmla="*/ 110402065 h 25"/>
              <a:gd name="T10" fmla="*/ 0 w 41"/>
              <a:gd name="T11" fmla="*/ 13800140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189244" y="6486369"/>
            <a:ext cx="36513" cy="55563"/>
          </a:xfrm>
          <a:custGeom>
            <a:avLst/>
            <a:gdLst>
              <a:gd name="T0" fmla="*/ 0 w 81"/>
              <a:gd name="T1" fmla="*/ 99588612 h 31"/>
              <a:gd name="T2" fmla="*/ 0 w 81"/>
              <a:gd name="T3" fmla="*/ 70676136 h 31"/>
              <a:gd name="T4" fmla="*/ 0 w 81"/>
              <a:gd name="T5" fmla="*/ 41763660 h 31"/>
              <a:gd name="T6" fmla="*/ 0 w 81"/>
              <a:gd name="T7" fmla="*/ 32126168 h 31"/>
              <a:gd name="T8" fmla="*/ 406602 w 81"/>
              <a:gd name="T9" fmla="*/ 25700576 h 31"/>
              <a:gd name="T10" fmla="*/ 609452 w 81"/>
              <a:gd name="T11" fmla="*/ 19274984 h 31"/>
              <a:gd name="T12" fmla="*/ 812752 w 81"/>
              <a:gd name="T13" fmla="*/ 12849392 h 31"/>
              <a:gd name="T14" fmla="*/ 1625505 w 81"/>
              <a:gd name="T15" fmla="*/ 6425592 h 31"/>
              <a:gd name="T16" fmla="*/ 2844859 w 81"/>
              <a:gd name="T17" fmla="*/ 0 h 31"/>
              <a:gd name="T18" fmla="*/ 5283116 w 81"/>
              <a:gd name="T19" fmla="*/ 3211900 h 31"/>
              <a:gd name="T20" fmla="*/ 8331275 w 81"/>
              <a:gd name="T21" fmla="*/ 3211900 h 31"/>
              <a:gd name="T22" fmla="*/ 11379434 w 81"/>
              <a:gd name="T23" fmla="*/ 3211900 h 31"/>
              <a:gd name="T24" fmla="*/ 13208240 w 81"/>
              <a:gd name="T25" fmla="*/ 3211900 h 31"/>
              <a:gd name="T26" fmla="*/ 14833744 w 81"/>
              <a:gd name="T27" fmla="*/ 3211900 h 31"/>
              <a:gd name="T28" fmla="*/ 16459249 w 81"/>
              <a:gd name="T29" fmla="*/ 3211900 h 31"/>
              <a:gd name="T30" fmla="*/ 14833744 w 81"/>
              <a:gd name="T31" fmla="*/ 19274984 h 31"/>
              <a:gd name="T32" fmla="*/ 13614390 w 81"/>
              <a:gd name="T33" fmla="*/ 32126168 h 31"/>
              <a:gd name="T34" fmla="*/ 13004939 w 81"/>
              <a:gd name="T35" fmla="*/ 44975560 h 31"/>
              <a:gd name="T36" fmla="*/ 12598337 w 81"/>
              <a:gd name="T37" fmla="*/ 57824952 h 31"/>
              <a:gd name="T38" fmla="*/ 11988886 w 81"/>
              <a:gd name="T39" fmla="*/ 67462444 h 31"/>
              <a:gd name="T40" fmla="*/ 10972833 w 81"/>
              <a:gd name="T41" fmla="*/ 73888036 h 31"/>
              <a:gd name="T42" fmla="*/ 9550629 w 81"/>
              <a:gd name="T43" fmla="*/ 80313628 h 31"/>
              <a:gd name="T44" fmla="*/ 6908620 w 81"/>
              <a:gd name="T45" fmla="*/ 80313628 h 31"/>
              <a:gd name="T46" fmla="*/ 0 w 81"/>
              <a:gd name="T47" fmla="*/ 99588612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233694" y="6472082"/>
            <a:ext cx="39688" cy="55562"/>
          </a:xfrm>
          <a:custGeom>
            <a:avLst/>
            <a:gdLst>
              <a:gd name="T0" fmla="*/ 397772 w 89"/>
              <a:gd name="T1" fmla="*/ 63002772 h 49"/>
              <a:gd name="T2" fmla="*/ 17698172 w 89"/>
              <a:gd name="T3" fmla="*/ 63002772 h 49"/>
              <a:gd name="T4" fmla="*/ 15510873 w 89"/>
              <a:gd name="T5" fmla="*/ 52716999 h 49"/>
              <a:gd name="T6" fmla="*/ 13522014 w 89"/>
              <a:gd name="T7" fmla="*/ 45001818 h 49"/>
              <a:gd name="T8" fmla="*/ 11334714 w 89"/>
              <a:gd name="T9" fmla="*/ 38573635 h 49"/>
              <a:gd name="T10" fmla="*/ 9147415 w 89"/>
              <a:gd name="T11" fmla="*/ 32144318 h 49"/>
              <a:gd name="T12" fmla="*/ 7159002 w 89"/>
              <a:gd name="T13" fmla="*/ 27000864 h 49"/>
              <a:gd name="T14" fmla="*/ 5170142 w 89"/>
              <a:gd name="T15" fmla="*/ 18000954 h 49"/>
              <a:gd name="T16" fmla="*/ 3181729 w 89"/>
              <a:gd name="T17" fmla="*/ 10285774 h 49"/>
              <a:gd name="T18" fmla="*/ 1789527 w 89"/>
              <a:gd name="T19" fmla="*/ 0 h 49"/>
              <a:gd name="T20" fmla="*/ 795544 w 89"/>
              <a:gd name="T21" fmla="*/ 12857500 h 49"/>
              <a:gd name="T22" fmla="*/ 198886 w 89"/>
              <a:gd name="T23" fmla="*/ 29572591 h 49"/>
              <a:gd name="T24" fmla="*/ 0 w 89"/>
              <a:gd name="T25" fmla="*/ 37287772 h 49"/>
              <a:gd name="T26" fmla="*/ 0 w 89"/>
              <a:gd name="T27" fmla="*/ 46287682 h 49"/>
              <a:gd name="T28" fmla="*/ 0 w 89"/>
              <a:gd name="T29" fmla="*/ 55287592 h 49"/>
              <a:gd name="T30" fmla="*/ 397772 w 89"/>
              <a:gd name="T31" fmla="*/ 6300277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286082" y="6481607"/>
            <a:ext cx="36512" cy="58737"/>
          </a:xfrm>
          <a:custGeom>
            <a:avLst/>
            <a:gdLst>
              <a:gd name="T0" fmla="*/ 0 w 86"/>
              <a:gd name="T1" fmla="*/ 34239840 h 46"/>
              <a:gd name="T2" fmla="*/ 2523574 w 86"/>
              <a:gd name="T3" fmla="*/ 42391514 h 46"/>
              <a:gd name="T4" fmla="*/ 4506260 w 86"/>
              <a:gd name="T5" fmla="*/ 47283285 h 46"/>
              <a:gd name="T6" fmla="*/ 5407597 w 86"/>
              <a:gd name="T7" fmla="*/ 48913875 h 46"/>
              <a:gd name="T8" fmla="*/ 6488947 w 86"/>
              <a:gd name="T9" fmla="*/ 48913875 h 46"/>
              <a:gd name="T10" fmla="*/ 7390284 w 86"/>
              <a:gd name="T11" fmla="*/ 47283285 h 46"/>
              <a:gd name="T12" fmla="*/ 8291620 w 86"/>
              <a:gd name="T13" fmla="*/ 44022105 h 46"/>
              <a:gd name="T14" fmla="*/ 8291620 w 86"/>
              <a:gd name="T15" fmla="*/ 58696139 h 46"/>
              <a:gd name="T16" fmla="*/ 8291620 w 86"/>
              <a:gd name="T17" fmla="*/ 75000765 h 46"/>
              <a:gd name="T18" fmla="*/ 10093870 w 86"/>
              <a:gd name="T19" fmla="*/ 73370174 h 46"/>
              <a:gd name="T20" fmla="*/ 12076556 w 86"/>
              <a:gd name="T21" fmla="*/ 70108994 h 46"/>
              <a:gd name="T22" fmla="*/ 13879230 w 86"/>
              <a:gd name="T23" fmla="*/ 65218500 h 46"/>
              <a:gd name="T24" fmla="*/ 15501467 w 86"/>
              <a:gd name="T25" fmla="*/ 65218500 h 46"/>
              <a:gd name="T26" fmla="*/ 14960580 w 86"/>
              <a:gd name="T27" fmla="*/ 52175056 h 46"/>
              <a:gd name="T28" fmla="*/ 14420117 w 86"/>
              <a:gd name="T29" fmla="*/ 40760924 h 46"/>
              <a:gd name="T30" fmla="*/ 13338343 w 86"/>
              <a:gd name="T31" fmla="*/ 30978660 h 46"/>
              <a:gd name="T32" fmla="*/ 12617443 w 86"/>
              <a:gd name="T33" fmla="*/ 22825709 h 46"/>
              <a:gd name="T34" fmla="*/ 11536094 w 86"/>
              <a:gd name="T35" fmla="*/ 14674035 h 46"/>
              <a:gd name="T36" fmla="*/ 10454320 w 86"/>
              <a:gd name="T37" fmla="*/ 9782264 h 46"/>
              <a:gd name="T38" fmla="*/ 9192533 w 86"/>
              <a:gd name="T39" fmla="*/ 4891771 h 46"/>
              <a:gd name="T40" fmla="*/ 8291620 w 86"/>
              <a:gd name="T41" fmla="*/ 1630590 h 46"/>
              <a:gd name="T42" fmla="*/ 7029834 w 86"/>
              <a:gd name="T43" fmla="*/ 0 h 46"/>
              <a:gd name="T44" fmla="*/ 5948060 w 86"/>
              <a:gd name="T45" fmla="*/ 0 h 46"/>
              <a:gd name="T46" fmla="*/ 4686697 w 86"/>
              <a:gd name="T47" fmla="*/ 1630590 h 46"/>
              <a:gd name="T48" fmla="*/ 3424911 w 86"/>
              <a:gd name="T49" fmla="*/ 4891771 h 46"/>
              <a:gd name="T50" fmla="*/ 2523574 w 86"/>
              <a:gd name="T51" fmla="*/ 9782264 h 46"/>
              <a:gd name="T52" fmla="*/ 1441799 w 86"/>
              <a:gd name="T53" fmla="*/ 16304625 h 46"/>
              <a:gd name="T54" fmla="*/ 720900 w 86"/>
              <a:gd name="T55" fmla="*/ 24456299 h 46"/>
              <a:gd name="T56" fmla="*/ 0 w 86"/>
              <a:gd name="T57" fmla="*/ 34239840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338469" y="6486369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71513721 h 18"/>
              <a:gd name="T4" fmla="*/ 7228237 w 59"/>
              <a:gd name="T5" fmla="*/ 171513721 h 18"/>
              <a:gd name="T6" fmla="*/ 10934915 w 59"/>
              <a:gd name="T7" fmla="*/ 57171240 h 18"/>
              <a:gd name="T8" fmla="*/ 9452244 w 59"/>
              <a:gd name="T9" fmla="*/ 47642186 h 18"/>
              <a:gd name="T10" fmla="*/ 8340241 w 59"/>
              <a:gd name="T11" fmla="*/ 38113131 h 18"/>
              <a:gd name="T12" fmla="*/ 6857569 w 59"/>
              <a:gd name="T13" fmla="*/ 47642186 h 18"/>
              <a:gd name="T14" fmla="*/ 5374898 w 59"/>
              <a:gd name="T15" fmla="*/ 57171240 h 18"/>
              <a:gd name="T16" fmla="*/ 4077346 w 59"/>
              <a:gd name="T17" fmla="*/ 57171240 h 18"/>
              <a:gd name="T18" fmla="*/ 2594675 w 59"/>
              <a:gd name="T19" fmla="*/ 47642186 h 18"/>
              <a:gd name="T20" fmla="*/ 1297553 w 59"/>
              <a:gd name="T21" fmla="*/ 38113131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411494" y="6478432"/>
            <a:ext cx="1588" cy="55562"/>
          </a:xfrm>
          <a:custGeom>
            <a:avLst/>
            <a:gdLst>
              <a:gd name="T0" fmla="*/ 630436 w 4"/>
              <a:gd name="T1" fmla="*/ 162480834 h 19"/>
              <a:gd name="T2" fmla="*/ 630436 w 4"/>
              <a:gd name="T3" fmla="*/ 0 h 19"/>
              <a:gd name="T4" fmla="*/ 315218 w 4"/>
              <a:gd name="T5" fmla="*/ 8550699 h 19"/>
              <a:gd name="T6" fmla="*/ 157609 w 4"/>
              <a:gd name="T7" fmla="*/ 25655022 h 19"/>
              <a:gd name="T8" fmla="*/ 0 w 4"/>
              <a:gd name="T9" fmla="*/ 51310045 h 19"/>
              <a:gd name="T10" fmla="*/ 0 w 4"/>
              <a:gd name="T11" fmla="*/ 85515767 h 19"/>
              <a:gd name="T12" fmla="*/ 0 w 4"/>
              <a:gd name="T13" fmla="*/ 119721488 h 19"/>
              <a:gd name="T14" fmla="*/ 157609 w 4"/>
              <a:gd name="T15" fmla="*/ 136825811 h 19"/>
              <a:gd name="T16" fmla="*/ 315218 w 4"/>
              <a:gd name="T17" fmla="*/ 162480834 h 19"/>
              <a:gd name="T18" fmla="*/ 630436 w 4"/>
              <a:gd name="T19" fmla="*/ 162480834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986044" y="6292694"/>
            <a:ext cx="20638" cy="58738"/>
          </a:xfrm>
          <a:custGeom>
            <a:avLst/>
            <a:gdLst>
              <a:gd name="T0" fmla="*/ 0 w 46"/>
              <a:gd name="T1" fmla="*/ 69003053 h 50"/>
              <a:gd name="T2" fmla="*/ 1409216 w 46"/>
              <a:gd name="T3" fmla="*/ 0 h 50"/>
              <a:gd name="T4" fmla="*/ 4629642 w 46"/>
              <a:gd name="T5" fmla="*/ 11040394 h 50"/>
              <a:gd name="T6" fmla="*/ 6843740 w 46"/>
              <a:gd name="T7" fmla="*/ 19321278 h 50"/>
              <a:gd name="T8" fmla="*/ 7447626 w 46"/>
              <a:gd name="T9" fmla="*/ 24841475 h 50"/>
              <a:gd name="T10" fmla="*/ 8252957 w 46"/>
              <a:gd name="T11" fmla="*/ 30361672 h 50"/>
              <a:gd name="T12" fmla="*/ 8856843 w 46"/>
              <a:gd name="T13" fmla="*/ 41402067 h 50"/>
              <a:gd name="T14" fmla="*/ 9259284 w 46"/>
              <a:gd name="T15" fmla="*/ 52442461 h 50"/>
              <a:gd name="T16" fmla="*/ 6843740 w 46"/>
              <a:gd name="T17" fmla="*/ 57962658 h 50"/>
              <a:gd name="T18" fmla="*/ 4227201 w 46"/>
              <a:gd name="T19" fmla="*/ 63482856 h 50"/>
              <a:gd name="T20" fmla="*/ 1610213 w 46"/>
              <a:gd name="T21" fmla="*/ 67622710 h 50"/>
              <a:gd name="T22" fmla="*/ 0 w 46"/>
              <a:gd name="T23" fmla="*/ 69003053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932069" y="6265707"/>
            <a:ext cx="30163" cy="58737"/>
          </a:xfrm>
          <a:custGeom>
            <a:avLst/>
            <a:gdLst>
              <a:gd name="T0" fmla="*/ 0 w 66"/>
              <a:gd name="T1" fmla="*/ 0 h 80"/>
              <a:gd name="T2" fmla="*/ 2088559 w 66"/>
              <a:gd name="T3" fmla="*/ 0 h 80"/>
              <a:gd name="T4" fmla="*/ 3759407 w 66"/>
              <a:gd name="T5" fmla="*/ 0 h 80"/>
              <a:gd name="T6" fmla="*/ 5430254 w 66"/>
              <a:gd name="T7" fmla="*/ 0 h 80"/>
              <a:gd name="T8" fmla="*/ 6892703 w 66"/>
              <a:gd name="T9" fmla="*/ 0 h 80"/>
              <a:gd name="T10" fmla="*/ 6892703 w 66"/>
              <a:gd name="T11" fmla="*/ 3773118 h 80"/>
              <a:gd name="T12" fmla="*/ 7101558 w 66"/>
              <a:gd name="T13" fmla="*/ 7546970 h 80"/>
              <a:gd name="T14" fmla="*/ 7519270 w 66"/>
              <a:gd name="T15" fmla="*/ 11320088 h 80"/>
              <a:gd name="T16" fmla="*/ 7936982 w 66"/>
              <a:gd name="T17" fmla="*/ 14555029 h 80"/>
              <a:gd name="T18" fmla="*/ 9190118 w 66"/>
              <a:gd name="T19" fmla="*/ 19406705 h 80"/>
              <a:gd name="T20" fmla="*/ 10234397 w 66"/>
              <a:gd name="T21" fmla="*/ 24258381 h 80"/>
              <a:gd name="T22" fmla="*/ 11696389 w 66"/>
              <a:gd name="T23" fmla="*/ 28031499 h 80"/>
              <a:gd name="T24" fmla="*/ 12740668 w 66"/>
              <a:gd name="T25" fmla="*/ 32344263 h 80"/>
              <a:gd name="T26" fmla="*/ 12949524 w 66"/>
              <a:gd name="T27" fmla="*/ 35039557 h 80"/>
              <a:gd name="T28" fmla="*/ 13576092 w 66"/>
              <a:gd name="T29" fmla="*/ 37195939 h 80"/>
              <a:gd name="T30" fmla="*/ 13784948 w 66"/>
              <a:gd name="T31" fmla="*/ 40430146 h 80"/>
              <a:gd name="T32" fmla="*/ 13784948 w 66"/>
              <a:gd name="T33" fmla="*/ 43125440 h 80"/>
              <a:gd name="T34" fmla="*/ 0 w 66"/>
              <a:gd name="T35" fmla="*/ 9703352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766969" y="6249832"/>
            <a:ext cx="7938" cy="57150"/>
          </a:xfrm>
          <a:custGeom>
            <a:avLst/>
            <a:gdLst>
              <a:gd name="T0" fmla="*/ 3150592 w 20"/>
              <a:gd name="T1" fmla="*/ 68044219 h 48"/>
              <a:gd name="T2" fmla="*/ 3150592 w 20"/>
              <a:gd name="T3" fmla="*/ 55285481 h 48"/>
              <a:gd name="T4" fmla="*/ 2993023 w 20"/>
              <a:gd name="T5" fmla="*/ 45362813 h 48"/>
              <a:gd name="T6" fmla="*/ 2520315 w 20"/>
              <a:gd name="T7" fmla="*/ 35440144 h 48"/>
              <a:gd name="T8" fmla="*/ 2205573 w 20"/>
              <a:gd name="T9" fmla="*/ 26934319 h 48"/>
              <a:gd name="T10" fmla="*/ 1890435 w 20"/>
              <a:gd name="T11" fmla="*/ 19846528 h 48"/>
              <a:gd name="T12" fmla="*/ 1417727 w 20"/>
              <a:gd name="T13" fmla="*/ 12758738 h 48"/>
              <a:gd name="T14" fmla="*/ 630277 w 20"/>
              <a:gd name="T15" fmla="*/ 5670947 h 48"/>
              <a:gd name="T16" fmla="*/ 0 w 20"/>
              <a:gd name="T17" fmla="*/ 0 h 48"/>
              <a:gd name="T18" fmla="*/ 0 w 20"/>
              <a:gd name="T19" fmla="*/ 11340703 h 48"/>
              <a:gd name="T20" fmla="*/ 315139 w 20"/>
              <a:gd name="T21" fmla="*/ 24099441 h 48"/>
              <a:gd name="T22" fmla="*/ 630277 w 20"/>
              <a:gd name="T23" fmla="*/ 34022109 h 48"/>
              <a:gd name="T24" fmla="*/ 1260158 w 20"/>
              <a:gd name="T25" fmla="*/ 43944778 h 48"/>
              <a:gd name="T26" fmla="*/ 2205573 w 20"/>
              <a:gd name="T27" fmla="*/ 58121550 h 48"/>
              <a:gd name="T28" fmla="*/ 3150592 w 20"/>
              <a:gd name="T29" fmla="*/ 68044219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792369" y="6286344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789194" y="6286344"/>
            <a:ext cx="7938" cy="57150"/>
          </a:xfrm>
          <a:custGeom>
            <a:avLst/>
            <a:gdLst>
              <a:gd name="T0" fmla="*/ 3150592 w 20"/>
              <a:gd name="T1" fmla="*/ 272176875 h 12"/>
              <a:gd name="T2" fmla="*/ 3150592 w 20"/>
              <a:gd name="T3" fmla="*/ 181451250 h 12"/>
              <a:gd name="T4" fmla="*/ 2835454 w 20"/>
              <a:gd name="T5" fmla="*/ 113409413 h 12"/>
              <a:gd name="T6" fmla="*/ 2363143 w 20"/>
              <a:gd name="T7" fmla="*/ 68046600 h 12"/>
              <a:gd name="T8" fmla="*/ 2048004 w 20"/>
              <a:gd name="T9" fmla="*/ 45362813 h 12"/>
              <a:gd name="T10" fmla="*/ 110258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690769" y="6130769"/>
            <a:ext cx="22225" cy="57150"/>
          </a:xfrm>
          <a:custGeom>
            <a:avLst/>
            <a:gdLst>
              <a:gd name="T0" fmla="*/ 1230762 w 53"/>
              <a:gd name="T1" fmla="*/ 0 h 30"/>
              <a:gd name="T2" fmla="*/ 1934414 w 53"/>
              <a:gd name="T3" fmla="*/ 14516100 h 30"/>
              <a:gd name="T4" fmla="*/ 4044531 w 53"/>
              <a:gd name="T5" fmla="*/ 47177325 h 30"/>
              <a:gd name="T6" fmla="*/ 6506474 w 53"/>
              <a:gd name="T7" fmla="*/ 83467575 h 30"/>
              <a:gd name="T8" fmla="*/ 8089061 w 53"/>
              <a:gd name="T9" fmla="*/ 108870750 h 30"/>
              <a:gd name="T10" fmla="*/ 8616591 w 53"/>
              <a:gd name="T11" fmla="*/ 65322450 h 30"/>
              <a:gd name="T12" fmla="*/ 9319823 w 53"/>
              <a:gd name="T13" fmla="*/ 21774150 h 30"/>
              <a:gd name="T14" fmla="*/ 6506474 w 53"/>
              <a:gd name="T15" fmla="*/ 18145125 h 30"/>
              <a:gd name="T16" fmla="*/ 4572060 w 53"/>
              <a:gd name="T17" fmla="*/ 10887075 h 30"/>
              <a:gd name="T18" fmla="*/ 3692705 w 53"/>
              <a:gd name="T19" fmla="*/ 10887075 h 30"/>
              <a:gd name="T20" fmla="*/ 2637646 w 53"/>
              <a:gd name="T21" fmla="*/ 10887075 h 30"/>
              <a:gd name="T22" fmla="*/ 1582588 w 53"/>
              <a:gd name="T23" fmla="*/ 14516100 h 30"/>
              <a:gd name="T24" fmla="*/ 0 w 53"/>
              <a:gd name="T25" fmla="*/ 21774150 h 30"/>
              <a:gd name="T26" fmla="*/ 1230762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219407" y="6494307"/>
            <a:ext cx="11112" cy="57150"/>
          </a:xfrm>
          <a:custGeom>
            <a:avLst/>
            <a:gdLst>
              <a:gd name="T0" fmla="*/ 0 w 33"/>
              <a:gd name="T1" fmla="*/ 20391489 h 31"/>
              <a:gd name="T2" fmla="*/ 453572 w 33"/>
              <a:gd name="T3" fmla="*/ 71372976 h 31"/>
              <a:gd name="T4" fmla="*/ 793666 w 33"/>
              <a:gd name="T5" fmla="*/ 105358790 h 31"/>
              <a:gd name="T6" fmla="*/ 2494476 w 33"/>
              <a:gd name="T7" fmla="*/ 105358790 h 31"/>
              <a:gd name="T8" fmla="*/ 3741713 w 33"/>
              <a:gd name="T9" fmla="*/ 105358790 h 31"/>
              <a:gd name="T10" fmla="*/ 3741713 w 33"/>
              <a:gd name="T11" fmla="*/ 0 h 31"/>
              <a:gd name="T12" fmla="*/ 3061524 w 33"/>
              <a:gd name="T13" fmla="*/ 0 h 31"/>
              <a:gd name="T14" fmla="*/ 2154381 w 33"/>
              <a:gd name="T15" fmla="*/ 0 h 31"/>
              <a:gd name="T16" fmla="*/ 1133761 w 33"/>
              <a:gd name="T17" fmla="*/ 0 h 31"/>
              <a:gd name="T18" fmla="*/ 0 w 33"/>
              <a:gd name="T19" fmla="*/ 0 h 31"/>
              <a:gd name="T20" fmla="*/ 0 w 33"/>
              <a:gd name="T21" fmla="*/ 20391489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735344" y="6451444"/>
            <a:ext cx="28575" cy="55563"/>
          </a:xfrm>
          <a:custGeom>
            <a:avLst/>
            <a:gdLst>
              <a:gd name="T0" fmla="*/ 3672107 w 65"/>
              <a:gd name="T1" fmla="*/ 45400691 h 68"/>
              <a:gd name="T2" fmla="*/ 3092255 w 65"/>
              <a:gd name="T3" fmla="*/ 45400691 h 68"/>
              <a:gd name="T4" fmla="*/ 2705833 w 65"/>
              <a:gd name="T5" fmla="*/ 44065545 h 68"/>
              <a:gd name="T6" fmla="*/ 2125980 w 65"/>
              <a:gd name="T7" fmla="*/ 42730398 h 68"/>
              <a:gd name="T8" fmla="*/ 1352697 w 65"/>
              <a:gd name="T9" fmla="*/ 40726862 h 68"/>
              <a:gd name="T10" fmla="*/ 772844 w 65"/>
              <a:gd name="T11" fmla="*/ 39391716 h 68"/>
              <a:gd name="T12" fmla="*/ 386422 w 65"/>
              <a:gd name="T13" fmla="*/ 36721423 h 68"/>
              <a:gd name="T14" fmla="*/ 0 w 65"/>
              <a:gd name="T15" fmla="*/ 34717887 h 68"/>
              <a:gd name="T16" fmla="*/ 0 w 65"/>
              <a:gd name="T17" fmla="*/ 32715168 h 68"/>
              <a:gd name="T18" fmla="*/ 0 w 65"/>
              <a:gd name="T19" fmla="*/ 25371046 h 68"/>
              <a:gd name="T20" fmla="*/ 386422 w 65"/>
              <a:gd name="T21" fmla="*/ 19362071 h 68"/>
              <a:gd name="T22" fmla="*/ 966275 w 65"/>
              <a:gd name="T23" fmla="*/ 14020669 h 68"/>
              <a:gd name="T24" fmla="*/ 1739558 w 65"/>
              <a:gd name="T25" fmla="*/ 9346841 h 68"/>
              <a:gd name="T26" fmla="*/ 2898824 w 65"/>
              <a:gd name="T27" fmla="*/ 5341402 h 68"/>
              <a:gd name="T28" fmla="*/ 4251960 w 65"/>
              <a:gd name="T29" fmla="*/ 2670292 h 68"/>
              <a:gd name="T30" fmla="*/ 5797648 w 65"/>
              <a:gd name="T31" fmla="*/ 1335146 h 68"/>
              <a:gd name="T32" fmla="*/ 7537206 w 65"/>
              <a:gd name="T33" fmla="*/ 0 h 68"/>
              <a:gd name="T34" fmla="*/ 10049608 w 65"/>
              <a:gd name="T35" fmla="*/ 0 h 68"/>
              <a:gd name="T36" fmla="*/ 12562010 w 65"/>
              <a:gd name="T37" fmla="*/ 0 h 68"/>
              <a:gd name="T38" fmla="*/ 12562010 w 65"/>
              <a:gd name="T39" fmla="*/ 28708912 h 68"/>
              <a:gd name="T40" fmla="*/ 10822452 w 65"/>
              <a:gd name="T41" fmla="*/ 34717887 h 68"/>
              <a:gd name="T42" fmla="*/ 8696911 w 65"/>
              <a:gd name="T43" fmla="*/ 40726862 h 68"/>
              <a:gd name="T44" fmla="*/ 7537206 w 65"/>
              <a:gd name="T45" fmla="*/ 42730398 h 68"/>
              <a:gd name="T46" fmla="*/ 6570931 w 65"/>
              <a:gd name="T47" fmla="*/ 44065545 h 68"/>
              <a:gd name="T48" fmla="*/ 5218235 w 65"/>
              <a:gd name="T49" fmla="*/ 45400691 h 68"/>
              <a:gd name="T50" fmla="*/ 3672107 w 65"/>
              <a:gd name="T51" fmla="*/ 45400691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673307" y="6033932"/>
            <a:ext cx="274637" cy="368300"/>
          </a:xfrm>
          <a:custGeom>
            <a:avLst/>
            <a:gdLst>
              <a:gd name="T0" fmla="*/ 96930602 w 625"/>
              <a:gd name="T1" fmla="*/ 94910485 h 694"/>
              <a:gd name="T2" fmla="*/ 93455236 w 625"/>
              <a:gd name="T3" fmla="*/ 96037144 h 694"/>
              <a:gd name="T4" fmla="*/ 92489832 w 625"/>
              <a:gd name="T5" fmla="*/ 107583933 h 694"/>
              <a:gd name="T6" fmla="*/ 99441004 w 625"/>
              <a:gd name="T7" fmla="*/ 113779757 h 694"/>
              <a:gd name="T8" fmla="*/ 103109715 w 625"/>
              <a:gd name="T9" fmla="*/ 114061555 h 694"/>
              <a:gd name="T10" fmla="*/ 106199272 w 625"/>
              <a:gd name="T11" fmla="*/ 119412519 h 694"/>
              <a:gd name="T12" fmla="*/ 108130080 w 625"/>
              <a:gd name="T13" fmla="*/ 129269585 h 694"/>
              <a:gd name="T14" fmla="*/ 110447137 w 625"/>
              <a:gd name="T15" fmla="*/ 133494421 h 694"/>
              <a:gd name="T16" fmla="*/ 113536254 w 625"/>
              <a:gd name="T17" fmla="*/ 136029005 h 694"/>
              <a:gd name="T18" fmla="*/ 118556618 w 625"/>
              <a:gd name="T19" fmla="*/ 137155663 h 694"/>
              <a:gd name="T20" fmla="*/ 120680771 w 625"/>
              <a:gd name="T21" fmla="*/ 142224830 h 694"/>
              <a:gd name="T22" fmla="*/ 120680771 w 625"/>
              <a:gd name="T23" fmla="*/ 151800630 h 694"/>
              <a:gd name="T24" fmla="*/ 119329117 w 625"/>
              <a:gd name="T25" fmla="*/ 169825040 h 694"/>
              <a:gd name="T26" fmla="*/ 117977464 w 625"/>
              <a:gd name="T27" fmla="*/ 189257907 h 694"/>
              <a:gd name="T28" fmla="*/ 108516329 w 625"/>
              <a:gd name="T29" fmla="*/ 195171935 h 694"/>
              <a:gd name="T30" fmla="*/ 104075119 w 625"/>
              <a:gd name="T31" fmla="*/ 195171935 h 694"/>
              <a:gd name="T32" fmla="*/ 76077086 w 625"/>
              <a:gd name="T33" fmla="*/ 158841316 h 694"/>
              <a:gd name="T34" fmla="*/ 76656240 w 625"/>
              <a:gd name="T35" fmla="*/ 155461871 h 694"/>
              <a:gd name="T36" fmla="*/ 76077086 w 625"/>
              <a:gd name="T37" fmla="*/ 151800630 h 694"/>
              <a:gd name="T38" fmla="*/ 65264297 w 625"/>
              <a:gd name="T39" fmla="*/ 137437460 h 694"/>
              <a:gd name="T40" fmla="*/ 58892279 w 625"/>
              <a:gd name="T41" fmla="*/ 127579863 h 694"/>
              <a:gd name="T42" fmla="*/ 56575222 w 625"/>
              <a:gd name="T43" fmla="*/ 118004594 h 694"/>
              <a:gd name="T44" fmla="*/ 56188973 w 625"/>
              <a:gd name="T45" fmla="*/ 107302666 h 694"/>
              <a:gd name="T46" fmla="*/ 55030224 w 625"/>
              <a:gd name="T47" fmla="*/ 101388108 h 694"/>
              <a:gd name="T48" fmla="*/ 51747763 w 625"/>
              <a:gd name="T49" fmla="*/ 96318941 h 694"/>
              <a:gd name="T50" fmla="*/ 46534493 w 625"/>
              <a:gd name="T51" fmla="*/ 87306205 h 694"/>
              <a:gd name="T52" fmla="*/ 43252032 w 625"/>
              <a:gd name="T53" fmla="*/ 75759416 h 694"/>
              <a:gd name="T54" fmla="*/ 41127879 w 625"/>
              <a:gd name="T55" fmla="*/ 67029008 h 694"/>
              <a:gd name="T56" fmla="*/ 36687109 w 625"/>
              <a:gd name="T57" fmla="*/ 59706525 h 694"/>
              <a:gd name="T58" fmla="*/ 28963438 w 625"/>
              <a:gd name="T59" fmla="*/ 48159205 h 694"/>
              <a:gd name="T60" fmla="*/ 26260131 w 625"/>
              <a:gd name="T61" fmla="*/ 41118519 h 694"/>
              <a:gd name="T62" fmla="*/ 21626016 w 625"/>
              <a:gd name="T63" fmla="*/ 37175480 h 694"/>
              <a:gd name="T64" fmla="*/ 15447343 w 625"/>
              <a:gd name="T65" fmla="*/ 31824516 h 694"/>
              <a:gd name="T66" fmla="*/ 9461574 w 625"/>
              <a:gd name="T67" fmla="*/ 23938969 h 694"/>
              <a:gd name="T68" fmla="*/ 4441210 w 625"/>
              <a:gd name="T69" fmla="*/ 14363169 h 694"/>
              <a:gd name="T70" fmla="*/ 965404 w 625"/>
              <a:gd name="T71" fmla="*/ 5350964 h 694"/>
              <a:gd name="T72" fmla="*/ 1930808 w 625"/>
              <a:gd name="T73" fmla="*/ 1126658 h 694"/>
              <a:gd name="T74" fmla="*/ 7144517 w 625"/>
              <a:gd name="T75" fmla="*/ 3661242 h 694"/>
              <a:gd name="T76" fmla="*/ 16219402 w 625"/>
              <a:gd name="T77" fmla="*/ 4506103 h 694"/>
              <a:gd name="T78" fmla="*/ 22398515 w 625"/>
              <a:gd name="T79" fmla="*/ 5632761 h 694"/>
              <a:gd name="T80" fmla="*/ 26646380 w 625"/>
              <a:gd name="T81" fmla="*/ 7604281 h 694"/>
              <a:gd name="T82" fmla="*/ 30121747 w 625"/>
              <a:gd name="T83" fmla="*/ 11828586 h 694"/>
              <a:gd name="T84" fmla="*/ 39390416 w 625"/>
              <a:gd name="T85" fmla="*/ 30697858 h 694"/>
              <a:gd name="T86" fmla="*/ 49044456 w 625"/>
              <a:gd name="T87" fmla="*/ 45906419 h 694"/>
              <a:gd name="T88" fmla="*/ 57733531 w 625"/>
              <a:gd name="T89" fmla="*/ 56890144 h 694"/>
              <a:gd name="T90" fmla="*/ 63526394 w 625"/>
              <a:gd name="T91" fmla="*/ 61677513 h 694"/>
              <a:gd name="T92" fmla="*/ 70670472 w 625"/>
              <a:gd name="T93" fmla="*/ 63930830 h 694"/>
              <a:gd name="T94" fmla="*/ 74918777 w 625"/>
              <a:gd name="T95" fmla="*/ 64775691 h 694"/>
              <a:gd name="T96" fmla="*/ 77428739 w 625"/>
              <a:gd name="T97" fmla="*/ 67873869 h 694"/>
              <a:gd name="T98" fmla="*/ 80324951 w 625"/>
              <a:gd name="T99" fmla="*/ 73224833 h 694"/>
              <a:gd name="T100" fmla="*/ 82449103 w 625"/>
              <a:gd name="T101" fmla="*/ 74632758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014619" y="6083144"/>
            <a:ext cx="254000" cy="257175"/>
          </a:xfrm>
          <a:custGeom>
            <a:avLst/>
            <a:gdLst>
              <a:gd name="T0" fmla="*/ 97275921 w 585"/>
              <a:gd name="T1" fmla="*/ 7619266 h 493"/>
              <a:gd name="T2" fmla="*/ 93316995 w 585"/>
              <a:gd name="T3" fmla="*/ 14966750 h 493"/>
              <a:gd name="T4" fmla="*/ 96521737 w 585"/>
              <a:gd name="T5" fmla="*/ 25307481 h 493"/>
              <a:gd name="T6" fmla="*/ 100669101 w 585"/>
              <a:gd name="T7" fmla="*/ 35375908 h 493"/>
              <a:gd name="T8" fmla="*/ 108021641 w 585"/>
              <a:gd name="T9" fmla="*/ 48165800 h 493"/>
              <a:gd name="T10" fmla="*/ 109341138 w 585"/>
              <a:gd name="T11" fmla="*/ 55785066 h 493"/>
              <a:gd name="T12" fmla="*/ 103120092 w 585"/>
              <a:gd name="T13" fmla="*/ 55512763 h 493"/>
              <a:gd name="T14" fmla="*/ 97275921 w 585"/>
              <a:gd name="T15" fmla="*/ 63404331 h 493"/>
              <a:gd name="T16" fmla="*/ 95390677 w 585"/>
              <a:gd name="T17" fmla="*/ 66942183 h 493"/>
              <a:gd name="T18" fmla="*/ 97652797 w 585"/>
              <a:gd name="T19" fmla="*/ 73745062 h 493"/>
              <a:gd name="T20" fmla="*/ 98972728 w 585"/>
              <a:gd name="T21" fmla="*/ 80003856 h 493"/>
              <a:gd name="T22" fmla="*/ 95202239 w 585"/>
              <a:gd name="T23" fmla="*/ 83813489 h 493"/>
              <a:gd name="T24" fmla="*/ 86530202 w 585"/>
              <a:gd name="T25" fmla="*/ 87895425 h 493"/>
              <a:gd name="T26" fmla="*/ 83513897 w 585"/>
              <a:gd name="T27" fmla="*/ 96331078 h 493"/>
              <a:gd name="T28" fmla="*/ 83891207 w 585"/>
              <a:gd name="T29" fmla="*/ 112930603 h 493"/>
              <a:gd name="T30" fmla="*/ 81063340 w 585"/>
              <a:gd name="T31" fmla="*/ 123543636 h 493"/>
              <a:gd name="T32" fmla="*/ 75407607 w 585"/>
              <a:gd name="T33" fmla="*/ 128441437 h 493"/>
              <a:gd name="T34" fmla="*/ 69752308 w 585"/>
              <a:gd name="T35" fmla="*/ 132795676 h 493"/>
              <a:gd name="T36" fmla="*/ 64285012 w 585"/>
              <a:gd name="T37" fmla="*/ 134156147 h 493"/>
              <a:gd name="T38" fmla="*/ 62022892 w 585"/>
              <a:gd name="T39" fmla="*/ 132523373 h 493"/>
              <a:gd name="T40" fmla="*/ 61645583 w 585"/>
              <a:gd name="T41" fmla="*/ 128169656 h 493"/>
              <a:gd name="T42" fmla="*/ 57309781 w 585"/>
              <a:gd name="T43" fmla="*/ 122727249 h 493"/>
              <a:gd name="T44" fmla="*/ 47318246 w 585"/>
              <a:gd name="T45" fmla="*/ 123543636 h 493"/>
              <a:gd name="T46" fmla="*/ 41285638 w 585"/>
              <a:gd name="T47" fmla="*/ 125720494 h 493"/>
              <a:gd name="T48" fmla="*/ 33179347 w 585"/>
              <a:gd name="T49" fmla="*/ 119733481 h 493"/>
              <a:gd name="T50" fmla="*/ 22999374 w 585"/>
              <a:gd name="T51" fmla="*/ 118645313 h 493"/>
              <a:gd name="T52" fmla="*/ 17909388 w 585"/>
              <a:gd name="T53" fmla="*/ 116740235 h 493"/>
              <a:gd name="T54" fmla="*/ 15269959 w 585"/>
              <a:gd name="T55" fmla="*/ 99596627 h 493"/>
              <a:gd name="T56" fmla="*/ 10934157 w 585"/>
              <a:gd name="T57" fmla="*/ 84357573 h 493"/>
              <a:gd name="T58" fmla="*/ 6598356 w 585"/>
              <a:gd name="T59" fmla="*/ 79459772 h 493"/>
              <a:gd name="T60" fmla="*/ 2262120 w 585"/>
              <a:gd name="T61" fmla="*/ 70751816 h 493"/>
              <a:gd name="T62" fmla="*/ 942622 w 585"/>
              <a:gd name="T63" fmla="*/ 55512763 h 493"/>
              <a:gd name="T64" fmla="*/ 5844171 w 585"/>
              <a:gd name="T65" fmla="*/ 41634702 h 493"/>
              <a:gd name="T66" fmla="*/ 10179973 w 585"/>
              <a:gd name="T67" fmla="*/ 38369154 h 493"/>
              <a:gd name="T68" fmla="*/ 14138899 w 585"/>
              <a:gd name="T69" fmla="*/ 41362399 h 493"/>
              <a:gd name="T70" fmla="*/ 18286263 w 585"/>
              <a:gd name="T71" fmla="*/ 50886743 h 493"/>
              <a:gd name="T72" fmla="*/ 24318872 w 585"/>
              <a:gd name="T73" fmla="*/ 58234227 h 493"/>
              <a:gd name="T74" fmla="*/ 32048287 w 585"/>
              <a:gd name="T75" fmla="*/ 57961924 h 493"/>
              <a:gd name="T76" fmla="*/ 41662947 w 585"/>
              <a:gd name="T77" fmla="*/ 51430827 h 493"/>
              <a:gd name="T78" fmla="*/ 43925067 w 585"/>
              <a:gd name="T79" fmla="*/ 46804807 h 493"/>
              <a:gd name="T80" fmla="*/ 54293477 w 585"/>
              <a:gd name="T81" fmla="*/ 48437581 h 493"/>
              <a:gd name="T82" fmla="*/ 61457145 w 585"/>
              <a:gd name="T83" fmla="*/ 49253968 h 493"/>
              <a:gd name="T84" fmla="*/ 63530827 w 585"/>
              <a:gd name="T85" fmla="*/ 46260722 h 493"/>
              <a:gd name="T86" fmla="*/ 68243938 w 585"/>
              <a:gd name="T87" fmla="*/ 42995174 h 493"/>
              <a:gd name="T88" fmla="*/ 72202865 w 585"/>
              <a:gd name="T89" fmla="*/ 37008682 h 493"/>
              <a:gd name="T90" fmla="*/ 78235474 w 585"/>
              <a:gd name="T91" fmla="*/ 21497848 h 493"/>
              <a:gd name="T92" fmla="*/ 80497593 w 585"/>
              <a:gd name="T93" fmla="*/ 6802879 h 493"/>
              <a:gd name="T94" fmla="*/ 84268082 w 585"/>
              <a:gd name="T95" fmla="*/ 1632774 h 493"/>
              <a:gd name="T96" fmla="*/ 90300691 w 585"/>
              <a:gd name="T97" fmla="*/ 544084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370219" y="6489544"/>
            <a:ext cx="92075" cy="57150"/>
          </a:xfrm>
          <a:custGeom>
            <a:avLst/>
            <a:gdLst>
              <a:gd name="T0" fmla="*/ 0 w 212"/>
              <a:gd name="T1" fmla="*/ 31105929 h 105"/>
              <a:gd name="T2" fmla="*/ 3018062 w 212"/>
              <a:gd name="T3" fmla="*/ 25180834 h 105"/>
              <a:gd name="T4" fmla="*/ 6602038 w 212"/>
              <a:gd name="T5" fmla="*/ 20144559 h 105"/>
              <a:gd name="T6" fmla="*/ 8299779 w 212"/>
              <a:gd name="T7" fmla="*/ 17774739 h 105"/>
              <a:gd name="T8" fmla="*/ 10186014 w 212"/>
              <a:gd name="T9" fmla="*/ 15701010 h 105"/>
              <a:gd name="T10" fmla="*/ 12072249 w 212"/>
              <a:gd name="T11" fmla="*/ 13627281 h 105"/>
              <a:gd name="T12" fmla="*/ 13769990 w 212"/>
              <a:gd name="T13" fmla="*/ 11257461 h 105"/>
              <a:gd name="T14" fmla="*/ 15656225 w 212"/>
              <a:gd name="T15" fmla="*/ 9479824 h 105"/>
              <a:gd name="T16" fmla="*/ 17731387 w 212"/>
              <a:gd name="T17" fmla="*/ 7998823 h 105"/>
              <a:gd name="T18" fmla="*/ 19995042 w 212"/>
              <a:gd name="T19" fmla="*/ 6221186 h 105"/>
              <a:gd name="T20" fmla="*/ 22258263 w 212"/>
              <a:gd name="T21" fmla="*/ 4740184 h 105"/>
              <a:gd name="T22" fmla="*/ 27162994 w 212"/>
              <a:gd name="T23" fmla="*/ 2369820 h 105"/>
              <a:gd name="T24" fmla="*/ 32444277 w 212"/>
              <a:gd name="T25" fmla="*/ 0 h 105"/>
              <a:gd name="T26" fmla="*/ 39989649 w 212"/>
              <a:gd name="T27" fmla="*/ 0 h 105"/>
              <a:gd name="T28" fmla="*/ 38103415 w 212"/>
              <a:gd name="T29" fmla="*/ 2666456 h 105"/>
              <a:gd name="T30" fmla="*/ 35839759 w 212"/>
              <a:gd name="T31" fmla="*/ 5332367 h 105"/>
              <a:gd name="T32" fmla="*/ 33576104 w 212"/>
              <a:gd name="T33" fmla="*/ 7998823 h 105"/>
              <a:gd name="T34" fmla="*/ 31123956 w 212"/>
              <a:gd name="T35" fmla="*/ 10368643 h 105"/>
              <a:gd name="T36" fmla="*/ 25842239 w 212"/>
              <a:gd name="T37" fmla="*/ 15404919 h 105"/>
              <a:gd name="T38" fmla="*/ 20560521 w 212"/>
              <a:gd name="T39" fmla="*/ 19552376 h 105"/>
              <a:gd name="T40" fmla="*/ 14901818 w 212"/>
              <a:gd name="T41" fmla="*/ 23403741 h 105"/>
              <a:gd name="T42" fmla="*/ 9431607 w 212"/>
              <a:gd name="T43" fmla="*/ 26662380 h 105"/>
              <a:gd name="T44" fmla="*/ 4338383 w 212"/>
              <a:gd name="T45" fmla="*/ 29328291 h 105"/>
              <a:gd name="T46" fmla="*/ 0 w 212"/>
              <a:gd name="T47" fmla="*/ 31105929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486107" y="6156169"/>
            <a:ext cx="42862" cy="88900"/>
          </a:xfrm>
          <a:custGeom>
            <a:avLst/>
            <a:gdLst>
              <a:gd name="T0" fmla="*/ 0 w 92"/>
              <a:gd name="T1" fmla="*/ 23231284 h 166"/>
              <a:gd name="T2" fmla="*/ 0 w 92"/>
              <a:gd name="T3" fmla="*/ 42447072 h 166"/>
              <a:gd name="T4" fmla="*/ 1085061 w 92"/>
              <a:gd name="T5" fmla="*/ 41299941 h 166"/>
              <a:gd name="T6" fmla="*/ 2604798 w 92"/>
              <a:gd name="T7" fmla="*/ 39865759 h 166"/>
              <a:gd name="T8" fmla="*/ 3038543 w 92"/>
              <a:gd name="T9" fmla="*/ 39292193 h 166"/>
              <a:gd name="T10" fmla="*/ 3689859 w 92"/>
              <a:gd name="T11" fmla="*/ 38718628 h 166"/>
              <a:gd name="T12" fmla="*/ 3906964 w 92"/>
              <a:gd name="T13" fmla="*/ 37858547 h 166"/>
              <a:gd name="T14" fmla="*/ 4124070 w 92"/>
              <a:gd name="T15" fmla="*/ 37284446 h 166"/>
              <a:gd name="T16" fmla="*/ 4341175 w 92"/>
              <a:gd name="T17" fmla="*/ 39579244 h 166"/>
              <a:gd name="T18" fmla="*/ 5209131 w 92"/>
              <a:gd name="T19" fmla="*/ 42447072 h 166"/>
              <a:gd name="T20" fmla="*/ 5860447 w 92"/>
              <a:gd name="T21" fmla="*/ 44167769 h 166"/>
              <a:gd name="T22" fmla="*/ 6511763 w 92"/>
              <a:gd name="T23" fmla="*/ 45601951 h 166"/>
              <a:gd name="T24" fmla="*/ 7596824 w 92"/>
              <a:gd name="T25" fmla="*/ 46749083 h 166"/>
              <a:gd name="T26" fmla="*/ 8465245 w 92"/>
              <a:gd name="T27" fmla="*/ 47609699 h 166"/>
              <a:gd name="T28" fmla="*/ 8899456 w 92"/>
              <a:gd name="T29" fmla="*/ 45315436 h 166"/>
              <a:gd name="T30" fmla="*/ 8899456 w 92"/>
              <a:gd name="T31" fmla="*/ 42447072 h 166"/>
              <a:gd name="T32" fmla="*/ 8899456 w 92"/>
              <a:gd name="T33" fmla="*/ 39292193 h 166"/>
              <a:gd name="T34" fmla="*/ 8899456 w 92"/>
              <a:gd name="T35" fmla="*/ 36137314 h 166"/>
              <a:gd name="T36" fmla="*/ 8682350 w 92"/>
              <a:gd name="T37" fmla="*/ 30688173 h 166"/>
              <a:gd name="T38" fmla="*/ 8465245 w 92"/>
              <a:gd name="T39" fmla="*/ 28393910 h 166"/>
              <a:gd name="T40" fmla="*/ 10418727 w 92"/>
              <a:gd name="T41" fmla="*/ 28680425 h 166"/>
              <a:gd name="T42" fmla="*/ 12372209 w 92"/>
              <a:gd name="T43" fmla="*/ 29253991 h 166"/>
              <a:gd name="T44" fmla="*/ 13891481 w 92"/>
              <a:gd name="T45" fmla="*/ 30114607 h 166"/>
              <a:gd name="T46" fmla="*/ 15410753 w 92"/>
              <a:gd name="T47" fmla="*/ 30975223 h 166"/>
              <a:gd name="T48" fmla="*/ 16496279 w 92"/>
              <a:gd name="T49" fmla="*/ 31835304 h 166"/>
              <a:gd name="T50" fmla="*/ 17798446 w 92"/>
              <a:gd name="T51" fmla="*/ 32695920 h 166"/>
              <a:gd name="T52" fmla="*/ 18883972 w 92"/>
              <a:gd name="T53" fmla="*/ 33269486 h 166"/>
              <a:gd name="T54" fmla="*/ 19969033 w 92"/>
              <a:gd name="T55" fmla="*/ 33843052 h 166"/>
              <a:gd name="T56" fmla="*/ 18449762 w 92"/>
              <a:gd name="T57" fmla="*/ 29541042 h 166"/>
              <a:gd name="T58" fmla="*/ 17581340 w 92"/>
              <a:gd name="T59" fmla="*/ 25525546 h 166"/>
              <a:gd name="T60" fmla="*/ 16496279 w 92"/>
              <a:gd name="T61" fmla="*/ 21510587 h 166"/>
              <a:gd name="T62" fmla="*/ 15844963 w 92"/>
              <a:gd name="T63" fmla="*/ 17208577 h 166"/>
              <a:gd name="T64" fmla="*/ 15193647 w 92"/>
              <a:gd name="T65" fmla="*/ 13479596 h 166"/>
              <a:gd name="T66" fmla="*/ 14542797 w 92"/>
              <a:gd name="T67" fmla="*/ 9751152 h 166"/>
              <a:gd name="T68" fmla="*/ 13674376 w 92"/>
              <a:gd name="T69" fmla="*/ 6596273 h 166"/>
              <a:gd name="T70" fmla="*/ 12806420 w 92"/>
              <a:gd name="T71" fmla="*/ 3728445 h 166"/>
              <a:gd name="T72" fmla="*/ 12806420 w 92"/>
              <a:gd name="T73" fmla="*/ 5449142 h 166"/>
              <a:gd name="T74" fmla="*/ 12806420 w 92"/>
              <a:gd name="T75" fmla="*/ 7170374 h 166"/>
              <a:gd name="T76" fmla="*/ 10852938 w 92"/>
              <a:gd name="T77" fmla="*/ 6596273 h 166"/>
              <a:gd name="T78" fmla="*/ 9116095 w 92"/>
              <a:gd name="T79" fmla="*/ 5449142 h 166"/>
              <a:gd name="T80" fmla="*/ 7596824 w 92"/>
              <a:gd name="T81" fmla="*/ 4302010 h 166"/>
              <a:gd name="T82" fmla="*/ 6294657 w 92"/>
              <a:gd name="T83" fmla="*/ 3154879 h 166"/>
              <a:gd name="T84" fmla="*/ 4992491 w 92"/>
              <a:gd name="T85" fmla="*/ 2007748 h 166"/>
              <a:gd name="T86" fmla="*/ 3472754 w 92"/>
              <a:gd name="T87" fmla="*/ 860616 h 166"/>
              <a:gd name="T88" fmla="*/ 1736377 w 92"/>
              <a:gd name="T89" fmla="*/ 287051 h 166"/>
              <a:gd name="T90" fmla="*/ 0 w 92"/>
              <a:gd name="T91" fmla="*/ 0 h 166"/>
              <a:gd name="T92" fmla="*/ 0 w 92"/>
              <a:gd name="T93" fmla="*/ 2867828 h 166"/>
              <a:gd name="T94" fmla="*/ 0 w 92"/>
              <a:gd name="T95" fmla="*/ 5449142 h 166"/>
              <a:gd name="T96" fmla="*/ 0 w 92"/>
              <a:gd name="T97" fmla="*/ 9464637 h 166"/>
              <a:gd name="T98" fmla="*/ 0 w 92"/>
              <a:gd name="T99" fmla="*/ 14913778 h 166"/>
              <a:gd name="T100" fmla="*/ 0 w 92"/>
              <a:gd name="T101" fmla="*/ 20076405 h 166"/>
              <a:gd name="T102" fmla="*/ 0 w 92"/>
              <a:gd name="T103" fmla="*/ 23231284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498807" y="6300632"/>
            <a:ext cx="71437" cy="55562"/>
          </a:xfrm>
          <a:custGeom>
            <a:avLst/>
            <a:gdLst>
              <a:gd name="T0" fmla="*/ 1296194 w 166"/>
              <a:gd name="T1" fmla="*/ 0 h 62"/>
              <a:gd name="T2" fmla="*/ 2592819 w 166"/>
              <a:gd name="T3" fmla="*/ 2408882 h 62"/>
              <a:gd name="T4" fmla="*/ 4074491 w 166"/>
              <a:gd name="T5" fmla="*/ 4818659 h 62"/>
              <a:gd name="T6" fmla="*/ 5555733 w 166"/>
              <a:gd name="T7" fmla="*/ 5621620 h 62"/>
              <a:gd name="T8" fmla="*/ 6666880 w 166"/>
              <a:gd name="T9" fmla="*/ 6424580 h 62"/>
              <a:gd name="T10" fmla="*/ 8889173 w 166"/>
              <a:gd name="T11" fmla="*/ 6424580 h 62"/>
              <a:gd name="T12" fmla="*/ 10741371 w 166"/>
              <a:gd name="T13" fmla="*/ 5621620 h 62"/>
              <a:gd name="T14" fmla="*/ 12778616 w 166"/>
              <a:gd name="T15" fmla="*/ 4015699 h 62"/>
              <a:gd name="T16" fmla="*/ 14815431 w 166"/>
              <a:gd name="T17" fmla="*/ 2408882 h 62"/>
              <a:gd name="T18" fmla="*/ 17038155 w 166"/>
              <a:gd name="T19" fmla="*/ 802961 h 62"/>
              <a:gd name="T20" fmla="*/ 19630543 w 166"/>
              <a:gd name="T21" fmla="*/ 0 h 62"/>
              <a:gd name="T22" fmla="*/ 20556642 w 166"/>
              <a:gd name="T23" fmla="*/ 802961 h 62"/>
              <a:gd name="T24" fmla="*/ 21297263 w 166"/>
              <a:gd name="T25" fmla="*/ 1605921 h 62"/>
              <a:gd name="T26" fmla="*/ 22223362 w 166"/>
              <a:gd name="T27" fmla="*/ 4015699 h 62"/>
              <a:gd name="T28" fmla="*/ 22964413 w 166"/>
              <a:gd name="T29" fmla="*/ 6424580 h 62"/>
              <a:gd name="T30" fmla="*/ 24445655 w 166"/>
              <a:gd name="T31" fmla="*/ 13653017 h 62"/>
              <a:gd name="T32" fmla="*/ 25556802 w 166"/>
              <a:gd name="T33" fmla="*/ 20880558 h 62"/>
              <a:gd name="T34" fmla="*/ 26853427 w 166"/>
              <a:gd name="T35" fmla="*/ 28911956 h 62"/>
              <a:gd name="T36" fmla="*/ 27964573 w 166"/>
              <a:gd name="T37" fmla="*/ 36139496 h 62"/>
              <a:gd name="T38" fmla="*/ 28705194 w 166"/>
              <a:gd name="T39" fmla="*/ 39352235 h 62"/>
              <a:gd name="T40" fmla="*/ 29260767 w 166"/>
              <a:gd name="T41" fmla="*/ 41761116 h 62"/>
              <a:gd name="T42" fmla="*/ 30001819 w 166"/>
              <a:gd name="T43" fmla="*/ 43367933 h 62"/>
              <a:gd name="T44" fmla="*/ 30742440 w 166"/>
              <a:gd name="T45" fmla="*/ 44973854 h 62"/>
              <a:gd name="T46" fmla="*/ 29446245 w 166"/>
              <a:gd name="T47" fmla="*/ 45776815 h 62"/>
              <a:gd name="T48" fmla="*/ 27964573 w 166"/>
              <a:gd name="T49" fmla="*/ 47383632 h 62"/>
              <a:gd name="T50" fmla="*/ 26482901 w 166"/>
              <a:gd name="T51" fmla="*/ 48989553 h 62"/>
              <a:gd name="T52" fmla="*/ 24631133 w 166"/>
              <a:gd name="T53" fmla="*/ 49792514 h 62"/>
              <a:gd name="T54" fmla="*/ 23149461 w 166"/>
              <a:gd name="T55" fmla="*/ 48989553 h 62"/>
              <a:gd name="T56" fmla="*/ 22038315 w 166"/>
              <a:gd name="T57" fmla="*/ 46579775 h 62"/>
              <a:gd name="T58" fmla="*/ 20741690 w 166"/>
              <a:gd name="T59" fmla="*/ 43367933 h 62"/>
              <a:gd name="T60" fmla="*/ 19630543 w 166"/>
              <a:gd name="T61" fmla="*/ 40155195 h 62"/>
              <a:gd name="T62" fmla="*/ 18519397 w 166"/>
              <a:gd name="T63" fmla="*/ 36139496 h 62"/>
              <a:gd name="T64" fmla="*/ 17223202 w 166"/>
              <a:gd name="T65" fmla="*/ 32927654 h 62"/>
              <a:gd name="T66" fmla="*/ 16112056 w 166"/>
              <a:gd name="T67" fmla="*/ 31320837 h 62"/>
              <a:gd name="T68" fmla="*/ 14630384 w 166"/>
              <a:gd name="T69" fmla="*/ 30517877 h 62"/>
              <a:gd name="T70" fmla="*/ 10370845 w 166"/>
              <a:gd name="T71" fmla="*/ 30517877 h 62"/>
              <a:gd name="T72" fmla="*/ 6481832 w 166"/>
              <a:gd name="T73" fmla="*/ 31320837 h 62"/>
              <a:gd name="T74" fmla="*/ 4815112 w 166"/>
              <a:gd name="T75" fmla="*/ 32927654 h 62"/>
              <a:gd name="T76" fmla="*/ 3518918 w 166"/>
              <a:gd name="T77" fmla="*/ 34533575 h 62"/>
              <a:gd name="T78" fmla="*/ 2222293 w 166"/>
              <a:gd name="T79" fmla="*/ 36942457 h 62"/>
              <a:gd name="T80" fmla="*/ 1296194 w 166"/>
              <a:gd name="T81" fmla="*/ 40155195 h 62"/>
              <a:gd name="T82" fmla="*/ 370526 w 166"/>
              <a:gd name="T83" fmla="*/ 36139496 h 62"/>
              <a:gd name="T84" fmla="*/ 185048 w 166"/>
              <a:gd name="T85" fmla="*/ 32123798 h 62"/>
              <a:gd name="T86" fmla="*/ 0 w 166"/>
              <a:gd name="T87" fmla="*/ 27305138 h 62"/>
              <a:gd name="T88" fmla="*/ 185048 w 166"/>
              <a:gd name="T89" fmla="*/ 22487375 h 62"/>
              <a:gd name="T90" fmla="*/ 740621 w 166"/>
              <a:gd name="T91" fmla="*/ 12046200 h 62"/>
              <a:gd name="T92" fmla="*/ 1296194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575007" y="6224432"/>
            <a:ext cx="85725" cy="63500"/>
          </a:xfrm>
          <a:custGeom>
            <a:avLst/>
            <a:gdLst>
              <a:gd name="T0" fmla="*/ 6510658 w 193"/>
              <a:gd name="T1" fmla="*/ 9639405 h 121"/>
              <a:gd name="T2" fmla="*/ 9469725 w 193"/>
              <a:gd name="T3" fmla="*/ 6885289 h 121"/>
              <a:gd name="T4" fmla="*/ 13415740 w 193"/>
              <a:gd name="T5" fmla="*/ 3305149 h 121"/>
              <a:gd name="T6" fmla="*/ 16572019 w 193"/>
              <a:gd name="T7" fmla="*/ 1101541 h 121"/>
              <a:gd name="T8" fmla="*/ 18545027 w 193"/>
              <a:gd name="T9" fmla="*/ 275517 h 121"/>
              <a:gd name="T10" fmla="*/ 20715246 w 193"/>
              <a:gd name="T11" fmla="*/ 275517 h 121"/>
              <a:gd name="T12" fmla="*/ 22885466 w 193"/>
              <a:gd name="T13" fmla="*/ 826025 h 121"/>
              <a:gd name="T14" fmla="*/ 25844533 w 193"/>
              <a:gd name="T15" fmla="*/ 2754116 h 121"/>
              <a:gd name="T16" fmla="*/ 29198468 w 193"/>
              <a:gd name="T17" fmla="*/ 5783748 h 121"/>
              <a:gd name="T18" fmla="*/ 31960767 w 193"/>
              <a:gd name="T19" fmla="*/ 7711314 h 121"/>
              <a:gd name="T20" fmla="*/ 34130987 w 193"/>
              <a:gd name="T21" fmla="*/ 8262347 h 121"/>
              <a:gd name="T22" fmla="*/ 35314702 w 193"/>
              <a:gd name="T23" fmla="*/ 13219545 h 121"/>
              <a:gd name="T24" fmla="*/ 35117046 w 193"/>
              <a:gd name="T25" fmla="*/ 18176744 h 121"/>
              <a:gd name="T26" fmla="*/ 35906338 w 193"/>
              <a:gd name="T27" fmla="*/ 20655868 h 121"/>
              <a:gd name="T28" fmla="*/ 36892842 w 193"/>
              <a:gd name="T29" fmla="*/ 24511525 h 121"/>
              <a:gd name="T30" fmla="*/ 37090054 w 193"/>
              <a:gd name="T31" fmla="*/ 28091665 h 121"/>
              <a:gd name="T32" fmla="*/ 37682134 w 193"/>
              <a:gd name="T33" fmla="*/ 30019231 h 121"/>
              <a:gd name="T34" fmla="*/ 37090054 w 193"/>
              <a:gd name="T35" fmla="*/ 31396289 h 121"/>
              <a:gd name="T36" fmla="*/ 34919834 w 193"/>
              <a:gd name="T37" fmla="*/ 32498355 h 121"/>
              <a:gd name="T38" fmla="*/ 31368687 w 193"/>
              <a:gd name="T39" fmla="*/ 33324380 h 121"/>
              <a:gd name="T40" fmla="*/ 22885466 w 193"/>
              <a:gd name="T41" fmla="*/ 32773347 h 121"/>
              <a:gd name="T42" fmla="*/ 14204588 w 193"/>
              <a:gd name="T43" fmla="*/ 31947322 h 121"/>
              <a:gd name="T44" fmla="*/ 12429237 w 193"/>
              <a:gd name="T45" fmla="*/ 30294748 h 121"/>
              <a:gd name="T46" fmla="*/ 11048309 w 193"/>
              <a:gd name="T47" fmla="*/ 27540632 h 121"/>
              <a:gd name="T48" fmla="*/ 10653441 w 193"/>
              <a:gd name="T49" fmla="*/ 23960492 h 121"/>
              <a:gd name="T50" fmla="*/ 9272513 w 193"/>
              <a:gd name="T51" fmla="*/ 21757409 h 121"/>
              <a:gd name="T52" fmla="*/ 6115790 w 193"/>
              <a:gd name="T53" fmla="*/ 20655868 h 121"/>
              <a:gd name="T54" fmla="*/ 2564643 w 193"/>
              <a:gd name="T55" fmla="*/ 19003293 h 121"/>
              <a:gd name="T56" fmla="*/ 592080 w 193"/>
              <a:gd name="T57" fmla="*/ 17075202 h 121"/>
              <a:gd name="T58" fmla="*/ 0 w 193"/>
              <a:gd name="T59" fmla="*/ 15973661 h 121"/>
              <a:gd name="T60" fmla="*/ 197212 w 193"/>
              <a:gd name="T61" fmla="*/ 14045570 h 121"/>
              <a:gd name="T62" fmla="*/ 1380928 w 193"/>
              <a:gd name="T63" fmla="*/ 12393521 h 121"/>
              <a:gd name="T64" fmla="*/ 3945571 w 193"/>
              <a:gd name="T65" fmla="*/ 10465430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263857" y="6162519"/>
            <a:ext cx="166687" cy="230188"/>
          </a:xfrm>
          <a:custGeom>
            <a:avLst/>
            <a:gdLst>
              <a:gd name="T0" fmla="*/ 7156986 w 379"/>
              <a:gd name="T1" fmla="*/ 116256528 h 437"/>
              <a:gd name="T2" fmla="*/ 8897743 w 379"/>
              <a:gd name="T3" fmla="*/ 112926967 h 437"/>
              <a:gd name="T4" fmla="*/ 4642167 w 379"/>
              <a:gd name="T5" fmla="*/ 86290475 h 437"/>
              <a:gd name="T6" fmla="*/ 387031 w 379"/>
              <a:gd name="T7" fmla="*/ 81573465 h 437"/>
              <a:gd name="T8" fmla="*/ 2901409 w 379"/>
              <a:gd name="T9" fmla="*/ 74914342 h 437"/>
              <a:gd name="T10" fmla="*/ 5996334 w 379"/>
              <a:gd name="T11" fmla="*/ 61319028 h 437"/>
              <a:gd name="T12" fmla="*/ 7543576 w 379"/>
              <a:gd name="T13" fmla="*/ 47723187 h 437"/>
              <a:gd name="T14" fmla="*/ 11025531 w 379"/>
              <a:gd name="T15" fmla="*/ 44116557 h 437"/>
              <a:gd name="T16" fmla="*/ 12572774 w 379"/>
              <a:gd name="T17" fmla="*/ 36069986 h 437"/>
              <a:gd name="T18" fmla="*/ 14700562 w 379"/>
              <a:gd name="T19" fmla="*/ 21641886 h 437"/>
              <a:gd name="T20" fmla="*/ 17408896 w 379"/>
              <a:gd name="T21" fmla="*/ 14150504 h 437"/>
              <a:gd name="T22" fmla="*/ 22244578 w 379"/>
              <a:gd name="T23" fmla="*/ 8601235 h 437"/>
              <a:gd name="T24" fmla="*/ 29595079 w 379"/>
              <a:gd name="T25" fmla="*/ 6936718 h 437"/>
              <a:gd name="T26" fmla="*/ 41974337 w 379"/>
              <a:gd name="T27" fmla="*/ 10543348 h 437"/>
              <a:gd name="T28" fmla="*/ 50679005 w 379"/>
              <a:gd name="T29" fmla="*/ 13318246 h 437"/>
              <a:gd name="T30" fmla="*/ 58609612 w 379"/>
              <a:gd name="T31" fmla="*/ 12485987 h 437"/>
              <a:gd name="T32" fmla="*/ 63638810 w 379"/>
              <a:gd name="T33" fmla="*/ 8601235 h 437"/>
              <a:gd name="T34" fmla="*/ 68861083 w 379"/>
              <a:gd name="T35" fmla="*/ 1942112 h 437"/>
              <a:gd name="T36" fmla="*/ 72343038 w 379"/>
              <a:gd name="T37" fmla="*/ 2497303 h 437"/>
              <a:gd name="T38" fmla="*/ 71956007 w 379"/>
              <a:gd name="T39" fmla="*/ 9711089 h 437"/>
              <a:gd name="T40" fmla="*/ 63638810 w 379"/>
              <a:gd name="T41" fmla="*/ 22197076 h 437"/>
              <a:gd name="T42" fmla="*/ 56481824 w 379"/>
              <a:gd name="T43" fmla="*/ 26913560 h 437"/>
              <a:gd name="T44" fmla="*/ 52419763 w 379"/>
              <a:gd name="T45" fmla="*/ 26081301 h 437"/>
              <a:gd name="T46" fmla="*/ 46036399 w 379"/>
              <a:gd name="T47" fmla="*/ 19144583 h 437"/>
              <a:gd name="T48" fmla="*/ 41007201 w 379"/>
              <a:gd name="T49" fmla="*/ 15537953 h 437"/>
              <a:gd name="T50" fmla="*/ 34237246 w 379"/>
              <a:gd name="T51" fmla="*/ 15537953 h 437"/>
              <a:gd name="T52" fmla="*/ 26693230 w 379"/>
              <a:gd name="T53" fmla="*/ 16925402 h 437"/>
              <a:gd name="T54" fmla="*/ 22051063 w 379"/>
              <a:gd name="T55" fmla="*/ 21919481 h 437"/>
              <a:gd name="T56" fmla="*/ 15281108 w 379"/>
              <a:gd name="T57" fmla="*/ 44671221 h 437"/>
              <a:gd name="T58" fmla="*/ 23018199 w 379"/>
              <a:gd name="T59" fmla="*/ 46890929 h 437"/>
              <a:gd name="T60" fmla="*/ 25726093 w 379"/>
              <a:gd name="T61" fmla="*/ 52994861 h 437"/>
              <a:gd name="T62" fmla="*/ 29981670 w 379"/>
              <a:gd name="T63" fmla="*/ 46613333 h 437"/>
              <a:gd name="T64" fmla="*/ 33270109 w 379"/>
              <a:gd name="T65" fmla="*/ 42451513 h 437"/>
              <a:gd name="T66" fmla="*/ 42747959 w 379"/>
              <a:gd name="T67" fmla="*/ 41619255 h 437"/>
              <a:gd name="T68" fmla="*/ 48357702 w 379"/>
              <a:gd name="T69" fmla="*/ 40786996 h 437"/>
              <a:gd name="T70" fmla="*/ 52806354 w 379"/>
              <a:gd name="T71" fmla="*/ 48000782 h 437"/>
              <a:gd name="T72" fmla="*/ 53967005 w 379"/>
              <a:gd name="T73" fmla="*/ 56324423 h 437"/>
              <a:gd name="T74" fmla="*/ 47584081 w 379"/>
              <a:gd name="T75" fmla="*/ 53272456 h 437"/>
              <a:gd name="T76" fmla="*/ 42167853 w 379"/>
              <a:gd name="T77" fmla="*/ 51330344 h 437"/>
              <a:gd name="T78" fmla="*/ 37138655 w 379"/>
              <a:gd name="T79" fmla="*/ 54104715 h 437"/>
              <a:gd name="T80" fmla="*/ 35978004 w 379"/>
              <a:gd name="T81" fmla="*/ 57989467 h 437"/>
              <a:gd name="T82" fmla="*/ 37138655 w 379"/>
              <a:gd name="T83" fmla="*/ 64648590 h 437"/>
              <a:gd name="T84" fmla="*/ 42554883 w 379"/>
              <a:gd name="T85" fmla="*/ 75469532 h 437"/>
              <a:gd name="T86" fmla="*/ 43522020 w 379"/>
              <a:gd name="T87" fmla="*/ 82128655 h 437"/>
              <a:gd name="T88" fmla="*/ 41587747 w 379"/>
              <a:gd name="T89" fmla="*/ 89342442 h 437"/>
              <a:gd name="T90" fmla="*/ 39653474 w 379"/>
              <a:gd name="T91" fmla="*/ 95723970 h 437"/>
              <a:gd name="T92" fmla="*/ 40620610 w 379"/>
              <a:gd name="T93" fmla="*/ 98776463 h 437"/>
              <a:gd name="T94" fmla="*/ 45649808 w 379"/>
              <a:gd name="T95" fmla="*/ 102106024 h 437"/>
              <a:gd name="T96" fmla="*/ 48744293 w 379"/>
              <a:gd name="T97" fmla="*/ 110984328 h 437"/>
              <a:gd name="T98" fmla="*/ 46229914 w 379"/>
              <a:gd name="T99" fmla="*/ 119030900 h 437"/>
              <a:gd name="T100" fmla="*/ 42747959 w 379"/>
              <a:gd name="T101" fmla="*/ 116811192 h 437"/>
              <a:gd name="T102" fmla="*/ 39072928 w 379"/>
              <a:gd name="T103" fmla="*/ 115701338 h 437"/>
              <a:gd name="T104" fmla="*/ 34237246 w 379"/>
              <a:gd name="T105" fmla="*/ 110984328 h 437"/>
              <a:gd name="T106" fmla="*/ 29595079 w 379"/>
              <a:gd name="T107" fmla="*/ 98776463 h 437"/>
              <a:gd name="T108" fmla="*/ 26500154 w 379"/>
              <a:gd name="T109" fmla="*/ 84348363 h 437"/>
              <a:gd name="T110" fmla="*/ 22051063 w 379"/>
              <a:gd name="T111" fmla="*/ 72972230 h 437"/>
              <a:gd name="T112" fmla="*/ 18762623 w 379"/>
              <a:gd name="T113" fmla="*/ 71862376 h 437"/>
              <a:gd name="T114" fmla="*/ 20310305 w 379"/>
              <a:gd name="T115" fmla="*/ 105712654 h 437"/>
              <a:gd name="T116" fmla="*/ 17989002 w 379"/>
              <a:gd name="T117" fmla="*/ 112094182 h 437"/>
              <a:gd name="T118" fmla="*/ 11025531 w 379"/>
              <a:gd name="T119" fmla="*/ 118198641 h 437"/>
              <a:gd name="T120" fmla="*/ 11412562 w 379"/>
              <a:gd name="T121" fmla="*/ 12125060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928894" y="6403819"/>
            <a:ext cx="250825" cy="95250"/>
          </a:xfrm>
          <a:custGeom>
            <a:avLst/>
            <a:gdLst>
              <a:gd name="T0" fmla="*/ 2071259 w 578"/>
              <a:gd name="T1" fmla="*/ 13398673 h 184"/>
              <a:gd name="T2" fmla="*/ 4519623 w 578"/>
              <a:gd name="T3" fmla="*/ 8575088 h 184"/>
              <a:gd name="T4" fmla="*/ 7720897 w 578"/>
              <a:gd name="T5" fmla="*/ 1876011 h 184"/>
              <a:gd name="T6" fmla="*/ 10168827 w 578"/>
              <a:gd name="T7" fmla="*/ 0 h 184"/>
              <a:gd name="T8" fmla="*/ 14876787 w 578"/>
              <a:gd name="T9" fmla="*/ 535781 h 184"/>
              <a:gd name="T10" fmla="*/ 17890158 w 578"/>
              <a:gd name="T11" fmla="*/ 535781 h 184"/>
              <a:gd name="T12" fmla="*/ 19019739 w 578"/>
              <a:gd name="T13" fmla="*/ 1339712 h 184"/>
              <a:gd name="T14" fmla="*/ 21656439 w 578"/>
              <a:gd name="T15" fmla="*/ 4019654 h 184"/>
              <a:gd name="T16" fmla="*/ 27682314 w 578"/>
              <a:gd name="T17" fmla="*/ 7235376 h 184"/>
              <a:gd name="T18" fmla="*/ 31636930 w 578"/>
              <a:gd name="T19" fmla="*/ 9915318 h 184"/>
              <a:gd name="T20" fmla="*/ 33520288 w 578"/>
              <a:gd name="T21" fmla="*/ 14202603 h 184"/>
              <a:gd name="T22" fmla="*/ 36156554 w 578"/>
              <a:gd name="T23" fmla="*/ 16346246 h 184"/>
              <a:gd name="T24" fmla="*/ 43500779 w 578"/>
              <a:gd name="T25" fmla="*/ 16078614 h 184"/>
              <a:gd name="T26" fmla="*/ 52163355 w 578"/>
              <a:gd name="T27" fmla="*/ 13666822 h 184"/>
              <a:gd name="T28" fmla="*/ 56306307 w 578"/>
              <a:gd name="T29" fmla="*/ 10451099 h 184"/>
              <a:gd name="T30" fmla="*/ 59130909 w 578"/>
              <a:gd name="T31" fmla="*/ 9111387 h 184"/>
              <a:gd name="T32" fmla="*/ 61579273 w 578"/>
              <a:gd name="T33" fmla="*/ 9379019 h 184"/>
              <a:gd name="T34" fmla="*/ 63838868 w 578"/>
              <a:gd name="T35" fmla="*/ 8307457 h 184"/>
              <a:gd name="T36" fmla="*/ 68923499 w 578"/>
              <a:gd name="T37" fmla="*/ 9111387 h 184"/>
              <a:gd name="T38" fmla="*/ 75137710 w 578"/>
              <a:gd name="T39" fmla="*/ 15810465 h 184"/>
              <a:gd name="T40" fmla="*/ 80599012 w 578"/>
              <a:gd name="T41" fmla="*/ 23849772 h 184"/>
              <a:gd name="T42" fmla="*/ 85871978 w 578"/>
              <a:gd name="T43" fmla="*/ 28137575 h 184"/>
              <a:gd name="T44" fmla="*/ 90203266 w 578"/>
              <a:gd name="T45" fmla="*/ 28673356 h 184"/>
              <a:gd name="T46" fmla="*/ 92839532 w 578"/>
              <a:gd name="T47" fmla="*/ 28941505 h 184"/>
              <a:gd name="T48" fmla="*/ 95099127 w 578"/>
              <a:gd name="T49" fmla="*/ 33496940 h 184"/>
              <a:gd name="T50" fmla="*/ 98300834 w 578"/>
              <a:gd name="T51" fmla="*/ 37516594 h 184"/>
              <a:gd name="T52" fmla="*/ 100560429 w 578"/>
              <a:gd name="T53" fmla="*/ 37248444 h 184"/>
              <a:gd name="T54" fmla="*/ 102820024 w 578"/>
              <a:gd name="T55" fmla="*/ 34300871 h 184"/>
              <a:gd name="T56" fmla="*/ 105080053 w 578"/>
              <a:gd name="T57" fmla="*/ 35908732 h 184"/>
              <a:gd name="T58" fmla="*/ 107527983 w 578"/>
              <a:gd name="T59" fmla="*/ 38856306 h 184"/>
              <a:gd name="T60" fmla="*/ 108846333 w 578"/>
              <a:gd name="T61" fmla="*/ 42875959 h 184"/>
              <a:gd name="T62" fmla="*/ 108281326 w 578"/>
              <a:gd name="T63" fmla="*/ 46359832 h 184"/>
              <a:gd name="T64" fmla="*/ 106775074 w 578"/>
              <a:gd name="T65" fmla="*/ 48771624 h 184"/>
              <a:gd name="T66" fmla="*/ 103761703 w 578"/>
              <a:gd name="T67" fmla="*/ 47699543 h 184"/>
              <a:gd name="T68" fmla="*/ 99053743 w 578"/>
              <a:gd name="T69" fmla="*/ 45555901 h 184"/>
              <a:gd name="T70" fmla="*/ 92462861 w 578"/>
              <a:gd name="T71" fmla="*/ 46091682 h 184"/>
              <a:gd name="T72" fmla="*/ 87001559 w 578"/>
              <a:gd name="T73" fmla="*/ 45555901 h 184"/>
              <a:gd name="T74" fmla="*/ 84930300 w 578"/>
              <a:gd name="T75" fmla="*/ 42875959 h 184"/>
              <a:gd name="T76" fmla="*/ 82482369 w 578"/>
              <a:gd name="T77" fmla="*/ 41268098 h 184"/>
              <a:gd name="T78" fmla="*/ 80222340 w 578"/>
              <a:gd name="T79" fmla="*/ 42875959 h 184"/>
              <a:gd name="T80" fmla="*/ 78339417 w 578"/>
              <a:gd name="T81" fmla="*/ 45555901 h 184"/>
              <a:gd name="T82" fmla="*/ 74949374 w 578"/>
              <a:gd name="T83" fmla="*/ 45823533 h 184"/>
              <a:gd name="T84" fmla="*/ 61767609 w 578"/>
              <a:gd name="T85" fmla="*/ 40999948 h 184"/>
              <a:gd name="T86" fmla="*/ 52163355 w 578"/>
              <a:gd name="T87" fmla="*/ 35372951 h 184"/>
              <a:gd name="T88" fmla="*/ 50092096 w 578"/>
              <a:gd name="T89" fmla="*/ 32961159 h 184"/>
              <a:gd name="T90" fmla="*/ 43312444 w 578"/>
              <a:gd name="T91" fmla="*/ 31889079 h 184"/>
              <a:gd name="T92" fmla="*/ 37851575 w 578"/>
              <a:gd name="T93" fmla="*/ 30281217 h 184"/>
              <a:gd name="T94" fmla="*/ 31636930 w 578"/>
              <a:gd name="T95" fmla="*/ 29745436 h 184"/>
              <a:gd name="T96" fmla="*/ 27493978 w 578"/>
              <a:gd name="T97" fmla="*/ 29745436 h 184"/>
              <a:gd name="T98" fmla="*/ 23351026 w 578"/>
              <a:gd name="T99" fmla="*/ 28137575 h 184"/>
              <a:gd name="T100" fmla="*/ 22597683 w 578"/>
              <a:gd name="T101" fmla="*/ 26529713 h 184"/>
              <a:gd name="T102" fmla="*/ 12993863 w 578"/>
              <a:gd name="T103" fmla="*/ 25993414 h 184"/>
              <a:gd name="T104" fmla="*/ 8662576 w 578"/>
              <a:gd name="T105" fmla="*/ 23581622 h 184"/>
              <a:gd name="T106" fmla="*/ 0 w 578"/>
              <a:gd name="T107" fmla="*/ 14738385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609932" y="6260944"/>
            <a:ext cx="214312" cy="252413"/>
          </a:xfrm>
          <a:custGeom>
            <a:avLst/>
            <a:gdLst>
              <a:gd name="T0" fmla="*/ 91828545 w 491"/>
              <a:gd name="T1" fmla="*/ 131907046 h 481"/>
              <a:gd name="T2" fmla="*/ 87065669 w 491"/>
              <a:gd name="T3" fmla="*/ 128052106 h 481"/>
              <a:gd name="T4" fmla="*/ 80397554 w 491"/>
              <a:gd name="T5" fmla="*/ 119515194 h 481"/>
              <a:gd name="T6" fmla="*/ 78492316 w 491"/>
              <a:gd name="T7" fmla="*/ 114833746 h 481"/>
              <a:gd name="T8" fmla="*/ 71633895 w 491"/>
              <a:gd name="T9" fmla="*/ 112906277 h 481"/>
              <a:gd name="T10" fmla="*/ 68585514 w 491"/>
              <a:gd name="T11" fmla="*/ 111804266 h 481"/>
              <a:gd name="T12" fmla="*/ 66680276 w 491"/>
              <a:gd name="T13" fmla="*/ 109050812 h 481"/>
              <a:gd name="T14" fmla="*/ 65918181 w 491"/>
              <a:gd name="T15" fmla="*/ 102992376 h 481"/>
              <a:gd name="T16" fmla="*/ 65156086 w 491"/>
              <a:gd name="T17" fmla="*/ 91426507 h 481"/>
              <a:gd name="T18" fmla="*/ 62298447 w 491"/>
              <a:gd name="T19" fmla="*/ 83440076 h 481"/>
              <a:gd name="T20" fmla="*/ 60774257 w 491"/>
              <a:gd name="T21" fmla="*/ 76280678 h 481"/>
              <a:gd name="T22" fmla="*/ 59821856 w 491"/>
              <a:gd name="T23" fmla="*/ 67192760 h 481"/>
              <a:gd name="T24" fmla="*/ 55630332 w 491"/>
              <a:gd name="T25" fmla="*/ 61409826 h 481"/>
              <a:gd name="T26" fmla="*/ 49534007 w 491"/>
              <a:gd name="T27" fmla="*/ 56452876 h 481"/>
              <a:gd name="T28" fmla="*/ 42103797 w 491"/>
              <a:gd name="T29" fmla="*/ 52322434 h 481"/>
              <a:gd name="T30" fmla="*/ 33911928 w 491"/>
              <a:gd name="T31" fmla="*/ 49843958 h 481"/>
              <a:gd name="T32" fmla="*/ 25338575 w 491"/>
              <a:gd name="T33" fmla="*/ 49017975 h 481"/>
              <a:gd name="T34" fmla="*/ 25338575 w 491"/>
              <a:gd name="T35" fmla="*/ 42959538 h 481"/>
              <a:gd name="T36" fmla="*/ 20956746 w 491"/>
              <a:gd name="T37" fmla="*/ 39930057 h 481"/>
              <a:gd name="T38" fmla="*/ 16193869 w 491"/>
              <a:gd name="T39" fmla="*/ 35799615 h 481"/>
              <a:gd name="T40" fmla="*/ 12574135 w 491"/>
              <a:gd name="T41" fmla="*/ 30567162 h 481"/>
              <a:gd name="T42" fmla="*/ 13907583 w 491"/>
              <a:gd name="T43" fmla="*/ 36625599 h 481"/>
              <a:gd name="T44" fmla="*/ 10287849 w 491"/>
              <a:gd name="T45" fmla="*/ 40481063 h 481"/>
              <a:gd name="T46" fmla="*/ 7620516 w 491"/>
              <a:gd name="T47" fmla="*/ 49017975 h 481"/>
              <a:gd name="T48" fmla="*/ 4572571 w 491"/>
              <a:gd name="T49" fmla="*/ 60583843 h 481"/>
              <a:gd name="T50" fmla="*/ 2476591 w 491"/>
              <a:gd name="T51" fmla="*/ 72975694 h 481"/>
              <a:gd name="T52" fmla="*/ 2667333 w 491"/>
              <a:gd name="T53" fmla="*/ 65265291 h 481"/>
              <a:gd name="T54" fmla="*/ 4381829 w 491"/>
              <a:gd name="T55" fmla="*/ 57554362 h 481"/>
              <a:gd name="T56" fmla="*/ 6096325 w 491"/>
              <a:gd name="T57" fmla="*/ 49843958 h 481"/>
              <a:gd name="T58" fmla="*/ 5715278 w 491"/>
              <a:gd name="T59" fmla="*/ 39379577 h 481"/>
              <a:gd name="T60" fmla="*/ 3238686 w 491"/>
              <a:gd name="T61" fmla="*/ 30567162 h 481"/>
              <a:gd name="T62" fmla="*/ 0 w 491"/>
              <a:gd name="T63" fmla="*/ 20102780 h 481"/>
              <a:gd name="T64" fmla="*/ 6477373 w 491"/>
              <a:gd name="T65" fmla="*/ 16247316 h 481"/>
              <a:gd name="T66" fmla="*/ 11240250 w 491"/>
              <a:gd name="T67" fmla="*/ 15145830 h 481"/>
              <a:gd name="T68" fmla="*/ 16003127 w 491"/>
              <a:gd name="T69" fmla="*/ 15971813 h 481"/>
              <a:gd name="T70" fmla="*/ 19432555 w 491"/>
              <a:gd name="T71" fmla="*/ 18175310 h 481"/>
              <a:gd name="T72" fmla="*/ 23052289 w 491"/>
              <a:gd name="T73" fmla="*/ 22581255 h 481"/>
              <a:gd name="T74" fmla="*/ 26672023 w 491"/>
              <a:gd name="T75" fmla="*/ 30567162 h 481"/>
              <a:gd name="T76" fmla="*/ 34864329 w 491"/>
              <a:gd name="T77" fmla="*/ 28364189 h 481"/>
              <a:gd name="T78" fmla="*/ 37340920 w 491"/>
              <a:gd name="T79" fmla="*/ 26436720 h 481"/>
              <a:gd name="T80" fmla="*/ 38103015 w 491"/>
              <a:gd name="T81" fmla="*/ 24784228 h 481"/>
              <a:gd name="T82" fmla="*/ 39436463 w 491"/>
              <a:gd name="T83" fmla="*/ 20102780 h 481"/>
              <a:gd name="T84" fmla="*/ 44199777 w 491"/>
              <a:gd name="T85" fmla="*/ 14870327 h 481"/>
              <a:gd name="T86" fmla="*/ 48390864 w 491"/>
              <a:gd name="T87" fmla="*/ 13493863 h 481"/>
              <a:gd name="T88" fmla="*/ 50105360 w 491"/>
              <a:gd name="T89" fmla="*/ 8261409 h 481"/>
              <a:gd name="T90" fmla="*/ 53344483 w 491"/>
              <a:gd name="T91" fmla="*/ 2478475 h 481"/>
              <a:gd name="T92" fmla="*/ 57154522 w 491"/>
              <a:gd name="T93" fmla="*/ 275503 h 481"/>
              <a:gd name="T94" fmla="*/ 61536352 w 491"/>
              <a:gd name="T95" fmla="*/ 0 h 481"/>
              <a:gd name="T96" fmla="*/ 66871018 w 491"/>
              <a:gd name="T97" fmla="*/ 2202973 h 481"/>
              <a:gd name="T98" fmla="*/ 76015724 w 491"/>
              <a:gd name="T99" fmla="*/ 10464382 h 481"/>
              <a:gd name="T100" fmla="*/ 81540696 w 491"/>
              <a:gd name="T101" fmla="*/ 14595349 h 481"/>
              <a:gd name="T102" fmla="*/ 87446716 w 491"/>
              <a:gd name="T103" fmla="*/ 16522819 h 481"/>
              <a:gd name="T104" fmla="*/ 93543041 w 491"/>
              <a:gd name="T105" fmla="*/ 18450288 h 481"/>
              <a:gd name="T106" fmla="*/ 93543041 w 491"/>
              <a:gd name="T107" fmla="*/ 89774016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141494" y="5092544"/>
            <a:ext cx="53975" cy="60325"/>
          </a:xfrm>
          <a:custGeom>
            <a:avLst/>
            <a:gdLst>
              <a:gd name="T0" fmla="*/ 0 w 133"/>
              <a:gd name="T1" fmla="*/ 5050801 h 117"/>
              <a:gd name="T2" fmla="*/ 11858267 w 133"/>
              <a:gd name="T3" fmla="*/ 0 h 117"/>
              <a:gd name="T4" fmla="*/ 13340347 w 133"/>
              <a:gd name="T5" fmla="*/ 1595261 h 117"/>
              <a:gd name="T6" fmla="*/ 14987194 w 133"/>
              <a:gd name="T7" fmla="*/ 3721588 h 117"/>
              <a:gd name="T8" fmla="*/ 16634446 w 133"/>
              <a:gd name="T9" fmla="*/ 6646062 h 117"/>
              <a:gd name="T10" fmla="*/ 17951760 w 133"/>
              <a:gd name="T11" fmla="*/ 9836069 h 117"/>
              <a:gd name="T12" fmla="*/ 19434247 w 133"/>
              <a:gd name="T13" fmla="*/ 13026075 h 117"/>
              <a:gd name="T14" fmla="*/ 20751561 w 133"/>
              <a:gd name="T15" fmla="*/ 16482131 h 117"/>
              <a:gd name="T16" fmla="*/ 21081093 w 133"/>
              <a:gd name="T17" fmla="*/ 18077392 h 117"/>
              <a:gd name="T18" fmla="*/ 21410624 w 133"/>
              <a:gd name="T19" fmla="*/ 19672137 h 117"/>
              <a:gd name="T20" fmla="*/ 21574984 w 133"/>
              <a:gd name="T21" fmla="*/ 21267398 h 117"/>
              <a:gd name="T22" fmla="*/ 21904516 w 133"/>
              <a:gd name="T23" fmla="*/ 22862144 h 117"/>
              <a:gd name="T24" fmla="*/ 21574984 w 133"/>
              <a:gd name="T25" fmla="*/ 24457405 h 117"/>
              <a:gd name="T26" fmla="*/ 21081093 w 133"/>
              <a:gd name="T27" fmla="*/ 25786617 h 117"/>
              <a:gd name="T28" fmla="*/ 20422436 w 133"/>
              <a:gd name="T29" fmla="*/ 27115830 h 117"/>
              <a:gd name="T30" fmla="*/ 19434247 w 133"/>
              <a:gd name="T31" fmla="*/ 28445042 h 117"/>
              <a:gd name="T32" fmla="*/ 18610418 w 133"/>
              <a:gd name="T33" fmla="*/ 29508206 h 117"/>
              <a:gd name="T34" fmla="*/ 17622229 w 133"/>
              <a:gd name="T35" fmla="*/ 30305836 h 117"/>
              <a:gd name="T36" fmla="*/ 16963571 w 133"/>
              <a:gd name="T37" fmla="*/ 31103467 h 117"/>
              <a:gd name="T38" fmla="*/ 16469680 w 133"/>
              <a:gd name="T39" fmla="*/ 31103467 h 117"/>
              <a:gd name="T40" fmla="*/ 11858267 w 133"/>
              <a:gd name="T41" fmla="*/ 25255035 h 117"/>
              <a:gd name="T42" fmla="*/ 7411214 w 133"/>
              <a:gd name="T43" fmla="*/ 18608974 h 117"/>
              <a:gd name="T44" fmla="*/ 5270070 w 133"/>
              <a:gd name="T45" fmla="*/ 15418967 h 117"/>
              <a:gd name="T46" fmla="*/ 2964567 w 133"/>
              <a:gd name="T47" fmla="*/ 12228960 h 117"/>
              <a:gd name="T48" fmla="*/ 1317720 w 133"/>
              <a:gd name="T49" fmla="*/ 8772905 h 117"/>
              <a:gd name="T50" fmla="*/ 0 w 133"/>
              <a:gd name="T51" fmla="*/ 5050801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598444" y="4497232"/>
            <a:ext cx="220663" cy="177800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661944" y="4702019"/>
            <a:ext cx="146050" cy="71438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761957" y="4357532"/>
            <a:ext cx="111125" cy="65087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774657" y="4705194"/>
            <a:ext cx="179387" cy="142875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774407" y="5743419"/>
            <a:ext cx="14287" cy="55563"/>
          </a:xfrm>
          <a:custGeom>
            <a:avLst/>
            <a:gdLst>
              <a:gd name="T0" fmla="*/ 2436583 w 33"/>
              <a:gd name="T1" fmla="*/ 19274984 h 31"/>
              <a:gd name="T2" fmla="*/ 0 w 33"/>
              <a:gd name="T3" fmla="*/ 61038644 h 31"/>
              <a:gd name="T4" fmla="*/ 937314 w 33"/>
              <a:gd name="T5" fmla="*/ 67462444 h 31"/>
              <a:gd name="T6" fmla="*/ 2624046 w 33"/>
              <a:gd name="T7" fmla="*/ 80313628 h 31"/>
              <a:gd name="T8" fmla="*/ 3561359 w 33"/>
              <a:gd name="T9" fmla="*/ 86739220 h 31"/>
              <a:gd name="T10" fmla="*/ 4311210 w 33"/>
              <a:gd name="T11" fmla="*/ 93163020 h 31"/>
              <a:gd name="T12" fmla="*/ 5060629 w 33"/>
              <a:gd name="T13" fmla="*/ 96376712 h 31"/>
              <a:gd name="T14" fmla="*/ 6185405 w 33"/>
              <a:gd name="T15" fmla="*/ 99588612 h 31"/>
              <a:gd name="T16" fmla="*/ 6185405 w 33"/>
              <a:gd name="T17" fmla="*/ 0 h 31"/>
              <a:gd name="T18" fmla="*/ 3748822 w 33"/>
              <a:gd name="T19" fmla="*/ 0 h 31"/>
              <a:gd name="T20" fmla="*/ 2436583 w 33"/>
              <a:gd name="T21" fmla="*/ 1927498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879432" y="4697257"/>
            <a:ext cx="85725" cy="79375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796882" y="4579782"/>
            <a:ext cx="381000" cy="247650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308057" y="4922682"/>
            <a:ext cx="47625" cy="63500"/>
          </a:xfrm>
          <a:custGeom>
            <a:avLst/>
            <a:gdLst>
              <a:gd name="T0" fmla="*/ 9508977 w 107"/>
              <a:gd name="T1" fmla="*/ 0 h 123"/>
              <a:gd name="T2" fmla="*/ 16046954 w 107"/>
              <a:gd name="T3" fmla="*/ 8262228 h 123"/>
              <a:gd name="T4" fmla="*/ 18622265 w 107"/>
              <a:gd name="T5" fmla="*/ 17856923 h 123"/>
              <a:gd name="T6" fmla="*/ 21197576 w 107"/>
              <a:gd name="T7" fmla="*/ 22920919 h 123"/>
              <a:gd name="T8" fmla="*/ 21197576 w 107"/>
              <a:gd name="T9" fmla="*/ 31183146 h 123"/>
              <a:gd name="T10" fmla="*/ 21197576 w 107"/>
              <a:gd name="T11" fmla="*/ 32782520 h 123"/>
              <a:gd name="T12" fmla="*/ 17433421 w 107"/>
              <a:gd name="T13" fmla="*/ 30383976 h 123"/>
              <a:gd name="T14" fmla="*/ 14461977 w 107"/>
              <a:gd name="T15" fmla="*/ 27984915 h 123"/>
              <a:gd name="T16" fmla="*/ 12084732 w 107"/>
              <a:gd name="T17" fmla="*/ 26119150 h 123"/>
              <a:gd name="T18" fmla="*/ 10697821 w 107"/>
              <a:gd name="T19" fmla="*/ 24520293 h 123"/>
              <a:gd name="T20" fmla="*/ 10103621 w 107"/>
              <a:gd name="T21" fmla="*/ 22121748 h 123"/>
              <a:gd name="T22" fmla="*/ 9508977 w 107"/>
              <a:gd name="T23" fmla="*/ 19456297 h 123"/>
              <a:gd name="T24" fmla="*/ 7726377 w 107"/>
              <a:gd name="T25" fmla="*/ 19722687 h 123"/>
              <a:gd name="T26" fmla="*/ 6339466 w 107"/>
              <a:gd name="T27" fmla="*/ 19456297 h 123"/>
              <a:gd name="T28" fmla="*/ 5150621 w 107"/>
              <a:gd name="T29" fmla="*/ 19189907 h 123"/>
              <a:gd name="T30" fmla="*/ 4160289 w 107"/>
              <a:gd name="T31" fmla="*/ 18656610 h 123"/>
              <a:gd name="T32" fmla="*/ 3368022 w 107"/>
              <a:gd name="T33" fmla="*/ 17856923 h 123"/>
              <a:gd name="T34" fmla="*/ 2773377 w 107"/>
              <a:gd name="T35" fmla="*/ 16790846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850982" y="4936969"/>
            <a:ext cx="207962" cy="122238"/>
          </a:xfrm>
          <a:custGeom>
            <a:avLst/>
            <a:gdLst>
              <a:gd name="T0" fmla="*/ 20664623 w 471"/>
              <a:gd name="T1" fmla="*/ 18283462 h 234"/>
              <a:gd name="T2" fmla="*/ 32361713 w 471"/>
              <a:gd name="T3" fmla="*/ 23468129 h 234"/>
              <a:gd name="T4" fmla="*/ 53026778 w 471"/>
              <a:gd name="T5" fmla="*/ 28652796 h 234"/>
              <a:gd name="T6" fmla="*/ 72521780 w 471"/>
              <a:gd name="T7" fmla="*/ 23468129 h 234"/>
              <a:gd name="T8" fmla="*/ 74666306 w 471"/>
              <a:gd name="T9" fmla="*/ 25924381 h 234"/>
              <a:gd name="T10" fmla="*/ 76225800 w 471"/>
              <a:gd name="T11" fmla="*/ 31109049 h 234"/>
              <a:gd name="T12" fmla="*/ 79150072 w 471"/>
              <a:gd name="T13" fmla="*/ 33837986 h 234"/>
              <a:gd name="T14" fmla="*/ 82659376 w 471"/>
              <a:gd name="T15" fmla="*/ 35202454 h 234"/>
              <a:gd name="T16" fmla="*/ 84414028 w 471"/>
              <a:gd name="T17" fmla="*/ 36566923 h 234"/>
              <a:gd name="T18" fmla="*/ 85973522 w 471"/>
              <a:gd name="T19" fmla="*/ 38476761 h 234"/>
              <a:gd name="T20" fmla="*/ 87338300 w 471"/>
              <a:gd name="T21" fmla="*/ 41205698 h 234"/>
              <a:gd name="T22" fmla="*/ 88702637 w 471"/>
              <a:gd name="T23" fmla="*/ 46390366 h 234"/>
              <a:gd name="T24" fmla="*/ 91822067 w 471"/>
              <a:gd name="T25" fmla="*/ 51848240 h 234"/>
              <a:gd name="T26" fmla="*/ 68233171 w 471"/>
              <a:gd name="T27" fmla="*/ 55123069 h 234"/>
              <a:gd name="T28" fmla="*/ 64333994 w 471"/>
              <a:gd name="T29" fmla="*/ 61126313 h 234"/>
              <a:gd name="T30" fmla="*/ 61799595 w 471"/>
              <a:gd name="T31" fmla="*/ 63582566 h 234"/>
              <a:gd name="T32" fmla="*/ 59655070 w 471"/>
              <a:gd name="T33" fmla="*/ 63582566 h 234"/>
              <a:gd name="T34" fmla="*/ 58095576 w 471"/>
              <a:gd name="T35" fmla="*/ 62763467 h 234"/>
              <a:gd name="T36" fmla="*/ 56925955 w 471"/>
              <a:gd name="T37" fmla="*/ 61126313 h 234"/>
              <a:gd name="T38" fmla="*/ 56340924 w 471"/>
              <a:gd name="T39" fmla="*/ 58943268 h 234"/>
              <a:gd name="T40" fmla="*/ 55366019 w 471"/>
              <a:gd name="T41" fmla="*/ 54304493 h 234"/>
              <a:gd name="T42" fmla="*/ 54196398 w 471"/>
              <a:gd name="T43" fmla="*/ 47482150 h 234"/>
              <a:gd name="T44" fmla="*/ 52441747 w 471"/>
              <a:gd name="T45" fmla="*/ 42297482 h 234"/>
              <a:gd name="T46" fmla="*/ 50297221 w 471"/>
              <a:gd name="T47" fmla="*/ 40387122 h 234"/>
              <a:gd name="T48" fmla="*/ 47957980 w 471"/>
              <a:gd name="T49" fmla="*/ 38476761 h 234"/>
              <a:gd name="T50" fmla="*/ 46008612 w 471"/>
              <a:gd name="T51" fmla="*/ 36293716 h 234"/>
              <a:gd name="T52" fmla="*/ 43668929 w 471"/>
              <a:gd name="T53" fmla="*/ 38204076 h 234"/>
              <a:gd name="T54" fmla="*/ 40354783 w 471"/>
              <a:gd name="T55" fmla="*/ 44207320 h 234"/>
              <a:gd name="T56" fmla="*/ 38990447 w 471"/>
              <a:gd name="T57" fmla="*/ 48300726 h 234"/>
              <a:gd name="T58" fmla="*/ 36650764 w 471"/>
              <a:gd name="T59" fmla="*/ 51848240 h 234"/>
              <a:gd name="T60" fmla="*/ 32556871 w 471"/>
              <a:gd name="T61" fmla="*/ 54849862 h 234"/>
              <a:gd name="T62" fmla="*/ 28657693 w 471"/>
              <a:gd name="T63" fmla="*/ 58124691 h 234"/>
              <a:gd name="T64" fmla="*/ 25343547 w 471"/>
              <a:gd name="T65" fmla="*/ 59761845 h 234"/>
              <a:gd name="T66" fmla="*/ 22224559 w 471"/>
              <a:gd name="T67" fmla="*/ 60580421 h 234"/>
              <a:gd name="T68" fmla="*/ 18910413 w 471"/>
              <a:gd name="T69" fmla="*/ 60307737 h 234"/>
              <a:gd name="T70" fmla="*/ 15986140 w 471"/>
              <a:gd name="T71" fmla="*/ 59215953 h 234"/>
              <a:gd name="T72" fmla="*/ 12282121 w 471"/>
              <a:gd name="T73" fmla="*/ 55941646 h 234"/>
              <a:gd name="T74" fmla="*/ 11501932 w 471"/>
              <a:gd name="T75" fmla="*/ 53758601 h 234"/>
              <a:gd name="T76" fmla="*/ 11501932 w 471"/>
              <a:gd name="T77" fmla="*/ 36839608 h 234"/>
              <a:gd name="T78" fmla="*/ 0 w 471"/>
              <a:gd name="T79" fmla="*/ 26742958 h 234"/>
              <a:gd name="T80" fmla="*/ 10332312 w 471"/>
              <a:gd name="T81" fmla="*/ 21830975 h 234"/>
              <a:gd name="T82" fmla="*/ 16765888 w 471"/>
              <a:gd name="T83" fmla="*/ 8186812 h 234"/>
              <a:gd name="T84" fmla="*/ 25928579 w 471"/>
              <a:gd name="T85" fmla="*/ 0 h 234"/>
              <a:gd name="T86" fmla="*/ 32361713 w 471"/>
              <a:gd name="T87" fmla="*/ 11461118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900194" y="4865532"/>
            <a:ext cx="225425" cy="125412"/>
          </a:xfrm>
          <a:custGeom>
            <a:avLst/>
            <a:gdLst>
              <a:gd name="T0" fmla="*/ 19542845 w 525"/>
              <a:gd name="T1" fmla="*/ 50097671 h 241"/>
              <a:gd name="T2" fmla="*/ 31895705 w 525"/>
              <a:gd name="T3" fmla="*/ 40077720 h 241"/>
              <a:gd name="T4" fmla="*/ 17146040 w 525"/>
              <a:gd name="T5" fmla="*/ 28433658 h 241"/>
              <a:gd name="T6" fmla="*/ 8665337 w 525"/>
              <a:gd name="T7" fmla="*/ 31683442 h 241"/>
              <a:gd name="T8" fmla="*/ 12168227 w 525"/>
              <a:gd name="T9" fmla="*/ 16518478 h 241"/>
              <a:gd name="T10" fmla="*/ 7374618 w 525"/>
              <a:gd name="T11" fmla="*/ 11644062 h 241"/>
              <a:gd name="T12" fmla="*/ 20649359 w 525"/>
              <a:gd name="T13" fmla="*/ 6770166 h 241"/>
              <a:gd name="T14" fmla="*/ 34292510 w 525"/>
              <a:gd name="T15" fmla="*/ 0 h 241"/>
              <a:gd name="T16" fmla="*/ 57522878 w 525"/>
              <a:gd name="T17" fmla="*/ 5145014 h 241"/>
              <a:gd name="T18" fmla="*/ 80937451 w 525"/>
              <a:gd name="T19" fmla="*/ 6770166 h 241"/>
              <a:gd name="T20" fmla="*/ 96793201 w 525"/>
              <a:gd name="T21" fmla="*/ 14893846 h 241"/>
              <a:gd name="T22" fmla="*/ 95687116 w 525"/>
              <a:gd name="T23" fmla="*/ 18684827 h 241"/>
              <a:gd name="T24" fmla="*/ 94027558 w 525"/>
              <a:gd name="T25" fmla="*/ 22205209 h 241"/>
              <a:gd name="T26" fmla="*/ 91999592 w 525"/>
              <a:gd name="T27" fmla="*/ 24913276 h 241"/>
              <a:gd name="T28" fmla="*/ 89418583 w 525"/>
              <a:gd name="T29" fmla="*/ 26809027 h 241"/>
              <a:gd name="T30" fmla="*/ 81490493 w 525"/>
              <a:gd name="T31" fmla="*/ 27891941 h 241"/>
              <a:gd name="T32" fmla="*/ 77065723 w 525"/>
              <a:gd name="T33" fmla="*/ 28975376 h 241"/>
              <a:gd name="T34" fmla="*/ 75037756 w 525"/>
              <a:gd name="T35" fmla="*/ 30058290 h 241"/>
              <a:gd name="T36" fmla="*/ 73562833 w 525"/>
              <a:gd name="T37" fmla="*/ 31683442 h 241"/>
              <a:gd name="T38" fmla="*/ 71350233 w 525"/>
              <a:gd name="T39" fmla="*/ 36828457 h 241"/>
              <a:gd name="T40" fmla="*/ 69691105 w 525"/>
              <a:gd name="T41" fmla="*/ 39807122 h 241"/>
              <a:gd name="T42" fmla="*/ 67294300 w 525"/>
              <a:gd name="T43" fmla="*/ 41702872 h 241"/>
              <a:gd name="T44" fmla="*/ 56232159 w 525"/>
              <a:gd name="T45" fmla="*/ 44952136 h 241"/>
              <a:gd name="T46" fmla="*/ 50332465 w 525"/>
              <a:gd name="T47" fmla="*/ 46847887 h 241"/>
              <a:gd name="T48" fmla="*/ 47935660 w 525"/>
              <a:gd name="T49" fmla="*/ 48201920 h 241"/>
              <a:gd name="T50" fmla="*/ 48119865 w 525"/>
              <a:gd name="T51" fmla="*/ 51992901 h 241"/>
              <a:gd name="T52" fmla="*/ 48488703 w 525"/>
              <a:gd name="T53" fmla="*/ 54971566 h 241"/>
              <a:gd name="T54" fmla="*/ 50332465 w 525"/>
              <a:gd name="T55" fmla="*/ 60117101 h 241"/>
              <a:gd name="T56" fmla="*/ 40376408 w 525"/>
              <a:gd name="T57" fmla="*/ 61741733 h 241"/>
              <a:gd name="T58" fmla="*/ 20649359 w 525"/>
              <a:gd name="T59" fmla="*/ 63366364 h 241"/>
              <a:gd name="T60" fmla="*/ 3687524 w 525"/>
              <a:gd name="T61" fmla="*/ 60117101 h 241"/>
              <a:gd name="T62" fmla="*/ 9771422 w 525"/>
              <a:gd name="T63" fmla="*/ 44952136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506494" y="4881407"/>
            <a:ext cx="342900" cy="227012"/>
          </a:xfrm>
          <a:custGeom>
            <a:avLst/>
            <a:gdLst>
              <a:gd name="T0" fmla="*/ 146914280 w 784"/>
              <a:gd name="T1" fmla="*/ 81384858 h 430"/>
              <a:gd name="T2" fmla="*/ 143662416 w 784"/>
              <a:gd name="T3" fmla="*/ 81663607 h 430"/>
              <a:gd name="T4" fmla="*/ 139836282 w 784"/>
              <a:gd name="T5" fmla="*/ 84171826 h 430"/>
              <a:gd name="T6" fmla="*/ 138305916 w 784"/>
              <a:gd name="T7" fmla="*/ 85844324 h 430"/>
              <a:gd name="T8" fmla="*/ 137158251 w 784"/>
              <a:gd name="T9" fmla="*/ 92533259 h 430"/>
              <a:gd name="T10" fmla="*/ 136393286 w 784"/>
              <a:gd name="T11" fmla="*/ 100337720 h 430"/>
              <a:gd name="T12" fmla="*/ 134671351 w 784"/>
              <a:gd name="T13" fmla="*/ 104797186 h 430"/>
              <a:gd name="T14" fmla="*/ 128358754 w 784"/>
              <a:gd name="T15" fmla="*/ 112043620 h 430"/>
              <a:gd name="T16" fmla="*/ 121089624 w 784"/>
              <a:gd name="T17" fmla="*/ 117060586 h 430"/>
              <a:gd name="T18" fmla="*/ 117072358 w 784"/>
              <a:gd name="T19" fmla="*/ 118175056 h 430"/>
              <a:gd name="T20" fmla="*/ 112290128 w 784"/>
              <a:gd name="T21" fmla="*/ 119568804 h 430"/>
              <a:gd name="T22" fmla="*/ 108463994 w 784"/>
              <a:gd name="T23" fmla="*/ 119290055 h 430"/>
              <a:gd name="T24" fmla="*/ 104255596 w 784"/>
              <a:gd name="T25" fmla="*/ 108141654 h 430"/>
              <a:gd name="T26" fmla="*/ 98516832 w 784"/>
              <a:gd name="T27" fmla="*/ 95878254 h 430"/>
              <a:gd name="T28" fmla="*/ 91438834 w 784"/>
              <a:gd name="T29" fmla="*/ 93090758 h 430"/>
              <a:gd name="T30" fmla="*/ 85700070 w 784"/>
              <a:gd name="T31" fmla="*/ 87795043 h 430"/>
              <a:gd name="T32" fmla="*/ 79769737 w 784"/>
              <a:gd name="T33" fmla="*/ 81942357 h 430"/>
              <a:gd name="T34" fmla="*/ 71352941 w 784"/>
              <a:gd name="T35" fmla="*/ 76367893 h 430"/>
              <a:gd name="T36" fmla="*/ 58536179 w 784"/>
              <a:gd name="T37" fmla="*/ 71908427 h 430"/>
              <a:gd name="T38" fmla="*/ 34815722 w 784"/>
              <a:gd name="T39" fmla="*/ 78876639 h 430"/>
              <a:gd name="T40" fmla="*/ 28885389 w 784"/>
              <a:gd name="T41" fmla="*/ 85286825 h 430"/>
              <a:gd name="T42" fmla="*/ 24294290 w 784"/>
              <a:gd name="T43" fmla="*/ 85844324 h 430"/>
              <a:gd name="T44" fmla="*/ 12625630 w 784"/>
              <a:gd name="T45" fmla="*/ 70236457 h 430"/>
              <a:gd name="T46" fmla="*/ 12625630 w 784"/>
              <a:gd name="T47" fmla="*/ 56858059 h 430"/>
              <a:gd name="T48" fmla="*/ 7651831 w 784"/>
              <a:gd name="T49" fmla="*/ 49889847 h 430"/>
              <a:gd name="T50" fmla="*/ 8034532 w 784"/>
              <a:gd name="T51" fmla="*/ 55464311 h 430"/>
              <a:gd name="T52" fmla="*/ 6886429 w 784"/>
              <a:gd name="T53" fmla="*/ 60760026 h 430"/>
              <a:gd name="T54" fmla="*/ 5738764 w 784"/>
              <a:gd name="T55" fmla="*/ 61596275 h 430"/>
              <a:gd name="T56" fmla="*/ 5930333 w 784"/>
              <a:gd name="T57" fmla="*/ 56579309 h 430"/>
              <a:gd name="T58" fmla="*/ 5164931 w 784"/>
              <a:gd name="T59" fmla="*/ 48496626 h 430"/>
              <a:gd name="T60" fmla="*/ 6312597 w 784"/>
              <a:gd name="T61" fmla="*/ 45430381 h 430"/>
              <a:gd name="T62" fmla="*/ 7651831 w 784"/>
              <a:gd name="T63" fmla="*/ 42364663 h 430"/>
              <a:gd name="T64" fmla="*/ 5164931 w 784"/>
              <a:gd name="T65" fmla="*/ 35954477 h 430"/>
              <a:gd name="T66" fmla="*/ 1339234 w 784"/>
              <a:gd name="T67" fmla="*/ 35118228 h 430"/>
              <a:gd name="T68" fmla="*/ 0 w 784"/>
              <a:gd name="T69" fmla="*/ 32609482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7 h 430"/>
              <a:gd name="T76" fmla="*/ 7842963 w 784"/>
              <a:gd name="T77" fmla="*/ 27593045 h 430"/>
              <a:gd name="T78" fmla="*/ 10903695 w 784"/>
              <a:gd name="T79" fmla="*/ 28986265 h 430"/>
              <a:gd name="T80" fmla="*/ 13581727 w 784"/>
              <a:gd name="T81" fmla="*/ 25641797 h 430"/>
              <a:gd name="T82" fmla="*/ 15877495 w 784"/>
              <a:gd name="T83" fmla="*/ 21461081 h 430"/>
              <a:gd name="T84" fmla="*/ 16642459 w 784"/>
              <a:gd name="T85" fmla="*/ 17837864 h 430"/>
              <a:gd name="T86" fmla="*/ 14920961 w 784"/>
              <a:gd name="T87" fmla="*/ 15329117 h 430"/>
              <a:gd name="T88" fmla="*/ 10520994 w 784"/>
              <a:gd name="T89" fmla="*/ 13657148 h 430"/>
              <a:gd name="T90" fmla="*/ 8991065 w 784"/>
              <a:gd name="T91" fmla="*/ 11148401 h 430"/>
              <a:gd name="T92" fmla="*/ 7842963 w 784"/>
              <a:gd name="T93" fmla="*/ 7803933 h 430"/>
              <a:gd name="T94" fmla="*/ 20468593 w 784"/>
              <a:gd name="T95" fmla="*/ 11984650 h 430"/>
              <a:gd name="T96" fmla="*/ 41893720 w 784"/>
              <a:gd name="T97" fmla="*/ 20624832 h 430"/>
              <a:gd name="T98" fmla="*/ 52223583 w 784"/>
              <a:gd name="T99" fmla="*/ 0 h 430"/>
              <a:gd name="T100" fmla="*/ 71352941 w 784"/>
              <a:gd name="T101" fmla="*/ 11984650 h 430"/>
              <a:gd name="T102" fmla="*/ 88951934 w 784"/>
              <a:gd name="T103" fmla="*/ 25641797 h 430"/>
              <a:gd name="T104" fmla="*/ 113055092 w 784"/>
              <a:gd name="T105" fmla="*/ 58530029 h 430"/>
              <a:gd name="T106" fmla="*/ 138497485 w 784"/>
              <a:gd name="T107" fmla="*/ 73859674 h 430"/>
              <a:gd name="T108" fmla="*/ 148827347 w 784"/>
              <a:gd name="T109" fmla="*/ 8222110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715919" y="4768694"/>
            <a:ext cx="107950" cy="149225"/>
          </a:xfrm>
          <a:custGeom>
            <a:avLst/>
            <a:gdLst>
              <a:gd name="T0" fmla="*/ 5777080 w 246"/>
              <a:gd name="T1" fmla="*/ 7454419 h 284"/>
              <a:gd name="T2" fmla="*/ 5391795 w 246"/>
              <a:gd name="T3" fmla="*/ 6626326 h 284"/>
              <a:gd name="T4" fmla="*/ 4621664 w 246"/>
              <a:gd name="T5" fmla="*/ 4693231 h 284"/>
              <a:gd name="T6" fmla="*/ 6739854 w 246"/>
              <a:gd name="T7" fmla="*/ 1380331 h 284"/>
              <a:gd name="T8" fmla="*/ 12901780 w 246"/>
              <a:gd name="T9" fmla="*/ 275856 h 284"/>
              <a:gd name="T10" fmla="*/ 24262860 w 246"/>
              <a:gd name="T11" fmla="*/ 3312900 h 284"/>
              <a:gd name="T12" fmla="*/ 25226072 w 246"/>
              <a:gd name="T13" fmla="*/ 8282513 h 284"/>
              <a:gd name="T14" fmla="*/ 26766334 w 246"/>
              <a:gd name="T15" fmla="*/ 12699888 h 284"/>
              <a:gd name="T16" fmla="*/ 29077166 w 246"/>
              <a:gd name="T17" fmla="*/ 15736932 h 284"/>
              <a:gd name="T18" fmla="*/ 31772845 w 246"/>
              <a:gd name="T19" fmla="*/ 18497595 h 284"/>
              <a:gd name="T20" fmla="*/ 36779794 w 246"/>
              <a:gd name="T21" fmla="*/ 24019445 h 284"/>
              <a:gd name="T22" fmla="*/ 39090626 w 246"/>
              <a:gd name="T23" fmla="*/ 27884583 h 284"/>
              <a:gd name="T24" fmla="*/ 40823530 w 246"/>
              <a:gd name="T25" fmla="*/ 32301958 h 284"/>
              <a:gd name="T26" fmla="*/ 43519648 w 246"/>
              <a:gd name="T27" fmla="*/ 32301958 h 284"/>
              <a:gd name="T28" fmla="*/ 42556435 w 246"/>
              <a:gd name="T29" fmla="*/ 34235052 h 284"/>
              <a:gd name="T30" fmla="*/ 42556435 w 246"/>
              <a:gd name="T31" fmla="*/ 35615384 h 284"/>
              <a:gd name="T32" fmla="*/ 43904494 w 246"/>
              <a:gd name="T33" fmla="*/ 38652428 h 284"/>
              <a:gd name="T34" fmla="*/ 46022683 w 246"/>
              <a:gd name="T35" fmla="*/ 42517565 h 284"/>
              <a:gd name="T36" fmla="*/ 46985457 w 246"/>
              <a:gd name="T37" fmla="*/ 44725990 h 284"/>
              <a:gd name="T38" fmla="*/ 47370742 w 246"/>
              <a:gd name="T39" fmla="*/ 47763034 h 284"/>
              <a:gd name="T40" fmla="*/ 46407968 w 246"/>
              <a:gd name="T41" fmla="*/ 50800078 h 284"/>
              <a:gd name="T42" fmla="*/ 44867267 w 246"/>
              <a:gd name="T43" fmla="*/ 53009029 h 284"/>
              <a:gd name="T44" fmla="*/ 42941720 w 246"/>
              <a:gd name="T45" fmla="*/ 54665216 h 284"/>
              <a:gd name="T46" fmla="*/ 42364232 w 246"/>
              <a:gd name="T47" fmla="*/ 56321929 h 284"/>
              <a:gd name="T48" fmla="*/ 36394509 w 246"/>
              <a:gd name="T49" fmla="*/ 59358973 h 284"/>
              <a:gd name="T50" fmla="*/ 31580641 w 246"/>
              <a:gd name="T51" fmla="*/ 63499966 h 284"/>
              <a:gd name="T52" fmla="*/ 21759824 w 246"/>
              <a:gd name="T53" fmla="*/ 73163336 h 284"/>
              <a:gd name="T54" fmla="*/ 16945517 w 246"/>
              <a:gd name="T55" fmla="*/ 63776348 h 284"/>
              <a:gd name="T56" fmla="*/ 15212612 w 246"/>
              <a:gd name="T57" fmla="*/ 60739304 h 284"/>
              <a:gd name="T58" fmla="*/ 13864554 w 246"/>
              <a:gd name="T59" fmla="*/ 59634829 h 284"/>
              <a:gd name="T60" fmla="*/ 11553722 w 246"/>
              <a:gd name="T61" fmla="*/ 59911210 h 284"/>
              <a:gd name="T62" fmla="*/ 10398306 w 246"/>
              <a:gd name="T63" fmla="*/ 61015160 h 284"/>
              <a:gd name="T64" fmla="*/ 9435532 w 246"/>
              <a:gd name="T65" fmla="*/ 62947729 h 284"/>
              <a:gd name="T66" fmla="*/ 9242890 w 246"/>
              <a:gd name="T67" fmla="*/ 65156679 h 284"/>
              <a:gd name="T68" fmla="*/ 8665401 w 246"/>
              <a:gd name="T69" fmla="*/ 70954386 h 284"/>
              <a:gd name="T70" fmla="*/ 7895270 w 246"/>
              <a:gd name="T71" fmla="*/ 74543667 h 284"/>
              <a:gd name="T72" fmla="*/ 6354569 w 246"/>
              <a:gd name="T73" fmla="*/ 78408805 h 284"/>
              <a:gd name="T74" fmla="*/ 5006510 w 246"/>
              <a:gd name="T75" fmla="*/ 67089248 h 284"/>
              <a:gd name="T76" fmla="*/ 3273606 w 246"/>
              <a:gd name="T77" fmla="*/ 62671873 h 284"/>
              <a:gd name="T78" fmla="*/ 2118190 w 246"/>
              <a:gd name="T79" fmla="*/ 61015160 h 284"/>
              <a:gd name="T80" fmla="*/ 0 w 246"/>
              <a:gd name="T81" fmla="*/ 59634829 h 284"/>
              <a:gd name="T82" fmla="*/ 192642 w 246"/>
              <a:gd name="T83" fmla="*/ 56321929 h 284"/>
              <a:gd name="T84" fmla="*/ 770131 w 246"/>
              <a:gd name="T85" fmla="*/ 53284885 h 284"/>
              <a:gd name="T86" fmla="*/ 2888321 w 246"/>
              <a:gd name="T87" fmla="*/ 48591128 h 284"/>
              <a:gd name="T88" fmla="*/ 5969284 w 246"/>
              <a:gd name="T89" fmla="*/ 44450134 h 284"/>
              <a:gd name="T90" fmla="*/ 8858043 w 246"/>
              <a:gd name="T91" fmla="*/ 38928284 h 284"/>
              <a:gd name="T92" fmla="*/ 6354569 w 246"/>
              <a:gd name="T93" fmla="*/ 12147651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763544" y="4876644"/>
            <a:ext cx="68263" cy="60325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847682" y="5500532"/>
            <a:ext cx="411162" cy="611187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331869" y="5840257"/>
            <a:ext cx="244475" cy="431800"/>
          </a:xfrm>
          <a:custGeom>
            <a:avLst/>
            <a:gdLst>
              <a:gd name="T0" fmla="*/ 18947252 w 556"/>
              <a:gd name="T1" fmla="*/ 17234040 h 819"/>
              <a:gd name="T2" fmla="*/ 21654065 w 556"/>
              <a:gd name="T3" fmla="*/ 15566416 h 819"/>
              <a:gd name="T4" fmla="*/ 24940847 w 556"/>
              <a:gd name="T5" fmla="*/ 19180039 h 819"/>
              <a:gd name="T6" fmla="*/ 28807597 w 556"/>
              <a:gd name="T7" fmla="*/ 23627210 h 819"/>
              <a:gd name="T8" fmla="*/ 33060847 w 556"/>
              <a:gd name="T9" fmla="*/ 25573210 h 819"/>
              <a:gd name="T10" fmla="*/ 41567785 w 556"/>
              <a:gd name="T11" fmla="*/ 24461285 h 819"/>
              <a:gd name="T12" fmla="*/ 49688225 w 556"/>
              <a:gd name="T13" fmla="*/ 22793662 h 819"/>
              <a:gd name="T14" fmla="*/ 56261788 w 556"/>
              <a:gd name="T15" fmla="*/ 21959587 h 819"/>
              <a:gd name="T16" fmla="*/ 58195163 w 556"/>
              <a:gd name="T17" fmla="*/ 20569813 h 819"/>
              <a:gd name="T18" fmla="*/ 58195163 w 556"/>
              <a:gd name="T19" fmla="*/ 18902190 h 819"/>
              <a:gd name="T20" fmla="*/ 68635477 w 556"/>
              <a:gd name="T21" fmla="*/ 17511889 h 819"/>
              <a:gd name="T22" fmla="*/ 83909008 w 556"/>
              <a:gd name="T23" fmla="*/ 12508492 h 819"/>
              <a:gd name="T24" fmla="*/ 92609416 w 556"/>
              <a:gd name="T25" fmla="*/ 7782945 h 819"/>
              <a:gd name="T26" fmla="*/ 99376010 w 556"/>
              <a:gd name="T27" fmla="*/ 2223849 h 819"/>
              <a:gd name="T28" fmla="*/ 105756543 w 556"/>
              <a:gd name="T29" fmla="*/ 8617020 h 819"/>
              <a:gd name="T30" fmla="*/ 107302980 w 556"/>
              <a:gd name="T31" fmla="*/ 15844266 h 819"/>
              <a:gd name="T32" fmla="*/ 106723011 w 556"/>
              <a:gd name="T33" fmla="*/ 31410682 h 819"/>
              <a:gd name="T34" fmla="*/ 102856261 w 556"/>
              <a:gd name="T35" fmla="*/ 48366872 h 819"/>
              <a:gd name="T36" fmla="*/ 97056135 w 556"/>
              <a:gd name="T37" fmla="*/ 64211138 h 819"/>
              <a:gd name="T38" fmla="*/ 86422352 w 556"/>
              <a:gd name="T39" fmla="*/ 89228122 h 819"/>
              <a:gd name="T40" fmla="*/ 81782164 w 556"/>
              <a:gd name="T41" fmla="*/ 104238840 h 819"/>
              <a:gd name="T42" fmla="*/ 79268820 w 556"/>
              <a:gd name="T43" fmla="*/ 115357558 h 819"/>
              <a:gd name="T44" fmla="*/ 73275665 w 556"/>
              <a:gd name="T45" fmla="*/ 131479673 h 819"/>
              <a:gd name="T46" fmla="*/ 63801819 w 556"/>
              <a:gd name="T47" fmla="*/ 147601788 h 819"/>
              <a:gd name="T48" fmla="*/ 55681819 w 556"/>
              <a:gd name="T49" fmla="*/ 157330732 h 819"/>
              <a:gd name="T50" fmla="*/ 46207974 w 556"/>
              <a:gd name="T51" fmla="*/ 166781827 h 819"/>
              <a:gd name="T52" fmla="*/ 32480878 w 556"/>
              <a:gd name="T53" fmla="*/ 180958470 h 819"/>
              <a:gd name="T54" fmla="*/ 27647660 w 556"/>
              <a:gd name="T55" fmla="*/ 189019264 h 819"/>
              <a:gd name="T56" fmla="*/ 25327346 w 556"/>
              <a:gd name="T57" fmla="*/ 194578886 h 819"/>
              <a:gd name="T58" fmla="*/ 22427503 w 556"/>
              <a:gd name="T59" fmla="*/ 199304434 h 819"/>
              <a:gd name="T60" fmla="*/ 13727095 w 556"/>
              <a:gd name="T61" fmla="*/ 207087379 h 819"/>
              <a:gd name="T62" fmla="*/ 3673281 w 556"/>
              <a:gd name="T63" fmla="*/ 222653795 h 819"/>
              <a:gd name="T64" fmla="*/ 386499 w 556"/>
              <a:gd name="T65" fmla="*/ 156775034 h 819"/>
              <a:gd name="T66" fmla="*/ 579969 w 556"/>
              <a:gd name="T67" fmla="*/ 153994959 h 819"/>
              <a:gd name="T68" fmla="*/ 5220157 w 556"/>
              <a:gd name="T69" fmla="*/ 148158014 h 819"/>
              <a:gd name="T70" fmla="*/ 8120439 w 556"/>
              <a:gd name="T71" fmla="*/ 143432466 h 819"/>
              <a:gd name="T72" fmla="*/ 11600251 w 556"/>
              <a:gd name="T73" fmla="*/ 138150693 h 819"/>
              <a:gd name="T74" fmla="*/ 21460596 w 556"/>
              <a:gd name="T75" fmla="*/ 133425673 h 819"/>
              <a:gd name="T76" fmla="*/ 23007472 w 556"/>
              <a:gd name="T77" fmla="*/ 130645598 h 819"/>
              <a:gd name="T78" fmla="*/ 24940847 w 556"/>
              <a:gd name="T79" fmla="*/ 125642201 h 819"/>
              <a:gd name="T80" fmla="*/ 29387566 w 556"/>
              <a:gd name="T81" fmla="*/ 122306427 h 819"/>
              <a:gd name="T82" fmla="*/ 33640815 w 556"/>
              <a:gd name="T83" fmla="*/ 122028578 h 819"/>
              <a:gd name="T84" fmla="*/ 37894504 w 556"/>
              <a:gd name="T85" fmla="*/ 122028578 h 819"/>
              <a:gd name="T86" fmla="*/ 44081129 w 556"/>
              <a:gd name="T87" fmla="*/ 119249030 h 819"/>
              <a:gd name="T88" fmla="*/ 48528288 w 556"/>
              <a:gd name="T89" fmla="*/ 112577483 h 819"/>
              <a:gd name="T90" fmla="*/ 51234661 w 556"/>
              <a:gd name="T91" fmla="*/ 105350764 h 819"/>
              <a:gd name="T92" fmla="*/ 57228256 w 556"/>
              <a:gd name="T93" fmla="*/ 96455368 h 819"/>
              <a:gd name="T94" fmla="*/ 68442007 w 556"/>
              <a:gd name="T95" fmla="*/ 81445178 h 819"/>
              <a:gd name="T96" fmla="*/ 72888726 w 556"/>
              <a:gd name="T97" fmla="*/ 73940082 h 819"/>
              <a:gd name="T98" fmla="*/ 62641882 w 556"/>
              <a:gd name="T99" fmla="*/ 68380460 h 819"/>
              <a:gd name="T100" fmla="*/ 49688225 w 556"/>
              <a:gd name="T101" fmla="*/ 63377063 h 819"/>
              <a:gd name="T102" fmla="*/ 35574190 w 556"/>
              <a:gd name="T103" fmla="*/ 58095817 h 819"/>
              <a:gd name="T104" fmla="*/ 28807597 w 556"/>
              <a:gd name="T105" fmla="*/ 51980495 h 819"/>
              <a:gd name="T106" fmla="*/ 21654065 w 556"/>
              <a:gd name="T107" fmla="*/ 42807250 h 819"/>
              <a:gd name="T108" fmla="*/ 17207346 w 556"/>
              <a:gd name="T109" fmla="*/ 33634531 h 819"/>
              <a:gd name="T110" fmla="*/ 14887033 w 556"/>
              <a:gd name="T111" fmla="*/ 22237436 h 819"/>
              <a:gd name="T112" fmla="*/ 12567158 w 556"/>
              <a:gd name="T113" fmla="*/ 24183436 h 819"/>
              <a:gd name="T114" fmla="*/ 16240439 w 556"/>
              <a:gd name="T115" fmla="*/ 18902190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339807" y="5827557"/>
            <a:ext cx="38100" cy="58737"/>
          </a:xfrm>
          <a:custGeom>
            <a:avLst/>
            <a:gdLst>
              <a:gd name="T0" fmla="*/ 11579742 w 86"/>
              <a:gd name="T1" fmla="*/ 0 h 97"/>
              <a:gd name="T2" fmla="*/ 10990964 w 86"/>
              <a:gd name="T3" fmla="*/ 733304 h 97"/>
              <a:gd name="T4" fmla="*/ 10205927 w 86"/>
              <a:gd name="T5" fmla="*/ 1100259 h 97"/>
              <a:gd name="T6" fmla="*/ 9028371 w 86"/>
              <a:gd name="T7" fmla="*/ 1100259 h 97"/>
              <a:gd name="T8" fmla="*/ 7850815 w 86"/>
              <a:gd name="T9" fmla="*/ 1100259 h 97"/>
              <a:gd name="T10" fmla="*/ 6477000 w 86"/>
              <a:gd name="T11" fmla="*/ 1100259 h 97"/>
              <a:gd name="T12" fmla="*/ 5299444 w 86"/>
              <a:gd name="T13" fmla="*/ 1100259 h 97"/>
              <a:gd name="T14" fmla="*/ 4514407 w 86"/>
              <a:gd name="T15" fmla="*/ 1466608 h 97"/>
              <a:gd name="T16" fmla="*/ 3925186 w 86"/>
              <a:gd name="T17" fmla="*/ 2199913 h 97"/>
              <a:gd name="T18" fmla="*/ 3140149 w 86"/>
              <a:gd name="T19" fmla="*/ 3300172 h 97"/>
              <a:gd name="T20" fmla="*/ 2551371 w 86"/>
              <a:gd name="T21" fmla="*/ 4399825 h 97"/>
              <a:gd name="T22" fmla="*/ 2158852 w 86"/>
              <a:gd name="T23" fmla="*/ 5500084 h 97"/>
              <a:gd name="T24" fmla="*/ 1570074 w 86"/>
              <a:gd name="T25" fmla="*/ 7333647 h 97"/>
              <a:gd name="T26" fmla="*/ 785037 w 86"/>
              <a:gd name="T27" fmla="*/ 10633819 h 97"/>
              <a:gd name="T28" fmla="*/ 392519 w 86"/>
              <a:gd name="T29" fmla="*/ 13933385 h 97"/>
              <a:gd name="T30" fmla="*/ 0 w 86"/>
              <a:gd name="T31" fmla="*/ 20900683 h 97"/>
              <a:gd name="T32" fmla="*/ 0 w 86"/>
              <a:gd name="T33" fmla="*/ 27500421 h 97"/>
              <a:gd name="T34" fmla="*/ 0 w 86"/>
              <a:gd name="T35" fmla="*/ 29700334 h 97"/>
              <a:gd name="T36" fmla="*/ 196259 w 86"/>
              <a:gd name="T37" fmla="*/ 31533897 h 97"/>
              <a:gd name="T38" fmla="*/ 588778 w 86"/>
              <a:gd name="T39" fmla="*/ 33000505 h 97"/>
              <a:gd name="T40" fmla="*/ 1373815 w 86"/>
              <a:gd name="T41" fmla="*/ 34100764 h 97"/>
              <a:gd name="T42" fmla="*/ 1962593 w 86"/>
              <a:gd name="T43" fmla="*/ 34834069 h 97"/>
              <a:gd name="T44" fmla="*/ 2551371 w 86"/>
              <a:gd name="T45" fmla="*/ 35200418 h 97"/>
              <a:gd name="T46" fmla="*/ 3532667 w 86"/>
              <a:gd name="T47" fmla="*/ 35567373 h 97"/>
              <a:gd name="T48" fmla="*/ 4121445 w 86"/>
              <a:gd name="T49" fmla="*/ 35567373 h 97"/>
              <a:gd name="T50" fmla="*/ 7850815 w 86"/>
              <a:gd name="T51" fmla="*/ 34834069 h 97"/>
              <a:gd name="T52" fmla="*/ 10402186 w 86"/>
              <a:gd name="T53" fmla="*/ 34100764 h 97"/>
              <a:gd name="T54" fmla="*/ 16879186 w 86"/>
              <a:gd name="T55" fmla="*/ 24933554 h 97"/>
              <a:gd name="T56" fmla="*/ 11579742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138194" y="5738657"/>
            <a:ext cx="363538" cy="376237"/>
          </a:xfrm>
          <a:custGeom>
            <a:avLst/>
            <a:gdLst>
              <a:gd name="T0" fmla="*/ 33686421 w 845"/>
              <a:gd name="T1" fmla="*/ 9830237 h 720"/>
              <a:gd name="T2" fmla="*/ 37943902 w 845"/>
              <a:gd name="T3" fmla="*/ 7645449 h 720"/>
              <a:gd name="T4" fmla="*/ 45717592 w 845"/>
              <a:gd name="T5" fmla="*/ 0 h 720"/>
              <a:gd name="T6" fmla="*/ 50530061 w 845"/>
              <a:gd name="T7" fmla="*/ 3276920 h 720"/>
              <a:gd name="T8" fmla="*/ 60524990 w 845"/>
              <a:gd name="T9" fmla="*/ 10103009 h 720"/>
              <a:gd name="T10" fmla="*/ 70334923 w 845"/>
              <a:gd name="T11" fmla="*/ 18295047 h 720"/>
              <a:gd name="T12" fmla="*/ 78849026 w 845"/>
              <a:gd name="T13" fmla="*/ 26759857 h 720"/>
              <a:gd name="T14" fmla="*/ 81810247 w 845"/>
              <a:gd name="T15" fmla="*/ 34132534 h 720"/>
              <a:gd name="T16" fmla="*/ 81995673 w 845"/>
              <a:gd name="T17" fmla="*/ 38228292 h 720"/>
              <a:gd name="T18" fmla="*/ 84771899 w 845"/>
              <a:gd name="T19" fmla="*/ 40139785 h 720"/>
              <a:gd name="T20" fmla="*/ 92360593 w 845"/>
              <a:gd name="T21" fmla="*/ 48604595 h 720"/>
              <a:gd name="T22" fmla="*/ 93656423 w 845"/>
              <a:gd name="T23" fmla="*/ 46966396 h 720"/>
              <a:gd name="T24" fmla="*/ 90324781 w 845"/>
              <a:gd name="T25" fmla="*/ 50242793 h 720"/>
              <a:gd name="T26" fmla="*/ 89028950 w 845"/>
              <a:gd name="T27" fmla="*/ 55157912 h 720"/>
              <a:gd name="T28" fmla="*/ 89028950 w 845"/>
              <a:gd name="T29" fmla="*/ 68811135 h 720"/>
              <a:gd name="T30" fmla="*/ 91250189 w 845"/>
              <a:gd name="T31" fmla="*/ 72088054 h 720"/>
              <a:gd name="T32" fmla="*/ 97358058 w 845"/>
              <a:gd name="T33" fmla="*/ 72360826 h 720"/>
              <a:gd name="T34" fmla="*/ 100874696 w 845"/>
              <a:gd name="T35" fmla="*/ 87106181 h 720"/>
              <a:gd name="T36" fmla="*/ 107908404 w 845"/>
              <a:gd name="T37" fmla="*/ 98574617 h 720"/>
              <a:gd name="T38" fmla="*/ 119384158 w 845"/>
              <a:gd name="T39" fmla="*/ 109224214 h 720"/>
              <a:gd name="T40" fmla="*/ 136597360 w 845"/>
              <a:gd name="T41" fmla="*/ 117415729 h 720"/>
              <a:gd name="T42" fmla="*/ 156402222 w 845"/>
              <a:gd name="T43" fmla="*/ 122604142 h 720"/>
              <a:gd name="T44" fmla="*/ 150108927 w 845"/>
              <a:gd name="T45" fmla="*/ 131615018 h 720"/>
              <a:gd name="T46" fmla="*/ 135301960 w 845"/>
              <a:gd name="T47" fmla="*/ 149363999 h 720"/>
              <a:gd name="T48" fmla="*/ 131784891 w 845"/>
              <a:gd name="T49" fmla="*/ 158101581 h 720"/>
              <a:gd name="T50" fmla="*/ 129008666 w 845"/>
              <a:gd name="T51" fmla="*/ 168477883 h 720"/>
              <a:gd name="T52" fmla="*/ 124751614 w 845"/>
              <a:gd name="T53" fmla="*/ 171754803 h 720"/>
              <a:gd name="T54" fmla="*/ 107352987 w 845"/>
              <a:gd name="T55" fmla="*/ 178854186 h 720"/>
              <a:gd name="T56" fmla="*/ 103465926 w 845"/>
              <a:gd name="T57" fmla="*/ 183223239 h 720"/>
              <a:gd name="T58" fmla="*/ 97173062 w 845"/>
              <a:gd name="T59" fmla="*/ 185953570 h 720"/>
              <a:gd name="T60" fmla="*/ 89213946 w 845"/>
              <a:gd name="T61" fmla="*/ 189230489 h 720"/>
              <a:gd name="T62" fmla="*/ 85327316 w 845"/>
              <a:gd name="T63" fmla="*/ 185680798 h 720"/>
              <a:gd name="T64" fmla="*/ 79034022 w 845"/>
              <a:gd name="T65" fmla="*/ 185407503 h 720"/>
              <a:gd name="T66" fmla="*/ 74961966 w 845"/>
              <a:gd name="T67" fmla="*/ 190868688 h 720"/>
              <a:gd name="T68" fmla="*/ 72185740 w 845"/>
              <a:gd name="T69" fmla="*/ 194964968 h 720"/>
              <a:gd name="T70" fmla="*/ 66632859 w 845"/>
              <a:gd name="T71" fmla="*/ 196603167 h 720"/>
              <a:gd name="T72" fmla="*/ 58859168 w 845"/>
              <a:gd name="T73" fmla="*/ 194964968 h 720"/>
              <a:gd name="T74" fmla="*/ 53491282 w 845"/>
              <a:gd name="T75" fmla="*/ 190595916 h 720"/>
              <a:gd name="T76" fmla="*/ 45532597 w 845"/>
              <a:gd name="T77" fmla="*/ 183223239 h 720"/>
              <a:gd name="T78" fmla="*/ 33501425 w 845"/>
              <a:gd name="T79" fmla="*/ 180492385 h 720"/>
              <a:gd name="T80" fmla="*/ 25912731 w 845"/>
              <a:gd name="T81" fmla="*/ 178308120 h 720"/>
              <a:gd name="T82" fmla="*/ 27948974 w 845"/>
              <a:gd name="T83" fmla="*/ 167659045 h 720"/>
              <a:gd name="T84" fmla="*/ 23506496 w 845"/>
              <a:gd name="T85" fmla="*/ 162743927 h 720"/>
              <a:gd name="T86" fmla="*/ 19989858 w 845"/>
              <a:gd name="T87" fmla="*/ 159193713 h 720"/>
              <a:gd name="T88" fmla="*/ 17213632 w 845"/>
              <a:gd name="T89" fmla="*/ 150456131 h 720"/>
              <a:gd name="T90" fmla="*/ 14251980 w 845"/>
              <a:gd name="T91" fmla="*/ 139533762 h 720"/>
              <a:gd name="T92" fmla="*/ 9069520 w 845"/>
              <a:gd name="T93" fmla="*/ 133526511 h 720"/>
              <a:gd name="T94" fmla="*/ 2961652 w 845"/>
              <a:gd name="T95" fmla="*/ 130249592 h 720"/>
              <a:gd name="T96" fmla="*/ 925409 w 845"/>
              <a:gd name="T97" fmla="*/ 128884165 h 720"/>
              <a:gd name="T98" fmla="*/ 369991 w 845"/>
              <a:gd name="T99" fmla="*/ 122330848 h 720"/>
              <a:gd name="T100" fmla="*/ 3887060 w 845"/>
              <a:gd name="T101" fmla="*/ 115231465 h 720"/>
              <a:gd name="T102" fmla="*/ 10179924 w 845"/>
              <a:gd name="T103" fmla="*/ 112773905 h 720"/>
              <a:gd name="T104" fmla="*/ 12401163 w 845"/>
              <a:gd name="T105" fmla="*/ 87652247 h 720"/>
              <a:gd name="T106" fmla="*/ 15177389 w 845"/>
              <a:gd name="T107" fmla="*/ 75091680 h 720"/>
              <a:gd name="T108" fmla="*/ 17583623 w 845"/>
              <a:gd name="T109" fmla="*/ 70995399 h 720"/>
              <a:gd name="T110" fmla="*/ 19064449 w 845"/>
              <a:gd name="T111" fmla="*/ 64442082 h 720"/>
              <a:gd name="T112" fmla="*/ 21470683 w 845"/>
              <a:gd name="T113" fmla="*/ 56250567 h 720"/>
              <a:gd name="T114" fmla="*/ 27393556 w 845"/>
              <a:gd name="T115" fmla="*/ 48604595 h 720"/>
              <a:gd name="T116" fmla="*/ 30910195 w 845"/>
              <a:gd name="T117" fmla="*/ 4368947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998119" y="6257769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998119" y="6265707"/>
            <a:ext cx="12700" cy="58737"/>
          </a:xfrm>
          <a:custGeom>
            <a:avLst/>
            <a:gdLst>
              <a:gd name="T0" fmla="*/ 0 w 33"/>
              <a:gd name="T1" fmla="*/ 0 h 6"/>
              <a:gd name="T2" fmla="*/ 1036782 w 33"/>
              <a:gd name="T3" fmla="*/ 95839205 h 6"/>
              <a:gd name="T4" fmla="*/ 2221730 w 33"/>
              <a:gd name="T5" fmla="*/ 287507826 h 6"/>
              <a:gd name="T6" fmla="*/ 3406679 w 33"/>
              <a:gd name="T7" fmla="*/ 479176446 h 6"/>
              <a:gd name="T8" fmla="*/ 4887576 w 33"/>
              <a:gd name="T9" fmla="*/ 575005862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2006057" y="6253007"/>
            <a:ext cx="4762" cy="57150"/>
          </a:xfrm>
          <a:custGeom>
            <a:avLst/>
            <a:gdLst>
              <a:gd name="T0" fmla="*/ 1744357 w 13"/>
              <a:gd name="T1" fmla="*/ 108870750 h 30"/>
              <a:gd name="T2" fmla="*/ 174435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2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998119" y="6187919"/>
            <a:ext cx="417513" cy="201613"/>
            <a:chOff x="912" y="2626"/>
            <a:chExt cx="311" cy="127"/>
          </a:xfrm>
          <a:solidFill>
            <a:srgbClr val="3C5C4F"/>
          </a:solidFill>
        </p:grpSpPr>
        <p:sp>
          <p:nvSpPr>
            <p:cNvPr id="42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2 w 352"/>
                <a:gd name="T1" fmla="*/ 9 h 387"/>
                <a:gd name="T2" fmla="*/ 30 w 352"/>
                <a:gd name="T3" fmla="*/ 9 h 387"/>
                <a:gd name="T4" fmla="*/ 27 w 352"/>
                <a:gd name="T5" fmla="*/ 9 h 387"/>
                <a:gd name="T6" fmla="*/ 26 w 352"/>
                <a:gd name="T7" fmla="*/ 8 h 387"/>
                <a:gd name="T8" fmla="*/ 23 w 352"/>
                <a:gd name="T9" fmla="*/ 6 h 387"/>
                <a:gd name="T10" fmla="*/ 17 w 352"/>
                <a:gd name="T11" fmla="*/ 2 h 387"/>
                <a:gd name="T12" fmla="*/ 14 w 352"/>
                <a:gd name="T13" fmla="*/ 1 h 387"/>
                <a:gd name="T14" fmla="*/ 13 w 352"/>
                <a:gd name="T15" fmla="*/ 2 h 387"/>
                <a:gd name="T16" fmla="*/ 12 w 352"/>
                <a:gd name="T17" fmla="*/ 3 h 387"/>
                <a:gd name="T18" fmla="*/ 11 w 352"/>
                <a:gd name="T19" fmla="*/ 4 h 387"/>
                <a:gd name="T20" fmla="*/ 9 w 352"/>
                <a:gd name="T21" fmla="*/ 6 h 387"/>
                <a:gd name="T22" fmla="*/ 5 w 352"/>
                <a:gd name="T23" fmla="*/ 11 h 387"/>
                <a:gd name="T24" fmla="*/ 3 w 352"/>
                <a:gd name="T25" fmla="*/ 14 h 387"/>
                <a:gd name="T26" fmla="*/ 2 w 352"/>
                <a:gd name="T27" fmla="*/ 17 h 387"/>
                <a:gd name="T28" fmla="*/ 1 w 352"/>
                <a:gd name="T29" fmla="*/ 19 h 387"/>
                <a:gd name="T30" fmla="*/ 0 w 352"/>
                <a:gd name="T31" fmla="*/ 21 h 387"/>
                <a:gd name="T32" fmla="*/ 0 w 352"/>
                <a:gd name="T33" fmla="*/ 23 h 387"/>
                <a:gd name="T34" fmla="*/ 0 w 352"/>
                <a:gd name="T35" fmla="*/ 24 h 387"/>
                <a:gd name="T36" fmla="*/ 1 w 352"/>
                <a:gd name="T37" fmla="*/ 25 h 387"/>
                <a:gd name="T38" fmla="*/ 3 w 352"/>
                <a:gd name="T39" fmla="*/ 26 h 387"/>
                <a:gd name="T40" fmla="*/ 4 w 352"/>
                <a:gd name="T41" fmla="*/ 26 h 387"/>
                <a:gd name="T42" fmla="*/ 5 w 352"/>
                <a:gd name="T43" fmla="*/ 26 h 387"/>
                <a:gd name="T44" fmla="*/ 6 w 352"/>
                <a:gd name="T45" fmla="*/ 26 h 387"/>
                <a:gd name="T46" fmla="*/ 7 w 352"/>
                <a:gd name="T47" fmla="*/ 25 h 387"/>
                <a:gd name="T48" fmla="*/ 8 w 352"/>
                <a:gd name="T49" fmla="*/ 25 h 387"/>
                <a:gd name="T50" fmla="*/ 8 w 352"/>
                <a:gd name="T51" fmla="*/ 26 h 387"/>
                <a:gd name="T52" fmla="*/ 8 w 352"/>
                <a:gd name="T53" fmla="*/ 28 h 387"/>
                <a:gd name="T54" fmla="*/ 8 w 352"/>
                <a:gd name="T55" fmla="*/ 30 h 387"/>
                <a:gd name="T56" fmla="*/ 7 w 352"/>
                <a:gd name="T57" fmla="*/ 31 h 387"/>
                <a:gd name="T58" fmla="*/ 7 w 352"/>
                <a:gd name="T59" fmla="*/ 33 h 387"/>
                <a:gd name="T60" fmla="*/ 8 w 352"/>
                <a:gd name="T61" fmla="*/ 36 h 387"/>
                <a:gd name="T62" fmla="*/ 9 w 352"/>
                <a:gd name="T63" fmla="*/ 38 h 387"/>
                <a:gd name="T64" fmla="*/ 13 w 352"/>
                <a:gd name="T65" fmla="*/ 40 h 387"/>
                <a:gd name="T66" fmla="*/ 15 w 352"/>
                <a:gd name="T67" fmla="*/ 41 h 387"/>
                <a:gd name="T68" fmla="*/ 16 w 352"/>
                <a:gd name="T69" fmla="*/ 42 h 387"/>
                <a:gd name="T70" fmla="*/ 17 w 352"/>
                <a:gd name="T71" fmla="*/ 41 h 387"/>
                <a:gd name="T72" fmla="*/ 18 w 352"/>
                <a:gd name="T73" fmla="*/ 39 h 387"/>
                <a:gd name="T74" fmla="*/ 18 w 352"/>
                <a:gd name="T75" fmla="*/ 38 h 387"/>
                <a:gd name="T76" fmla="*/ 19 w 352"/>
                <a:gd name="T77" fmla="*/ 36 h 387"/>
                <a:gd name="T78" fmla="*/ 19 w 352"/>
                <a:gd name="T79" fmla="*/ 35 h 387"/>
                <a:gd name="T80" fmla="*/ 20 w 352"/>
                <a:gd name="T81" fmla="*/ 33 h 387"/>
                <a:gd name="T82" fmla="*/ 22 w 352"/>
                <a:gd name="T83" fmla="*/ 30 h 387"/>
                <a:gd name="T84" fmla="*/ 24 w 352"/>
                <a:gd name="T85" fmla="*/ 28 h 387"/>
                <a:gd name="T86" fmla="*/ 27 w 352"/>
                <a:gd name="T87" fmla="*/ 27 h 387"/>
                <a:gd name="T88" fmla="*/ 31 w 352"/>
                <a:gd name="T89" fmla="*/ 25 h 387"/>
                <a:gd name="T90" fmla="*/ 33 w 352"/>
                <a:gd name="T91" fmla="*/ 23 h 387"/>
                <a:gd name="T92" fmla="*/ 35 w 352"/>
                <a:gd name="T93" fmla="*/ 21 h 387"/>
                <a:gd name="T94" fmla="*/ 36 w 352"/>
                <a:gd name="T95" fmla="*/ 20 h 387"/>
                <a:gd name="T96" fmla="*/ 36 w 352"/>
                <a:gd name="T97" fmla="*/ 18 h 387"/>
                <a:gd name="T98" fmla="*/ 36 w 352"/>
                <a:gd name="T99" fmla="*/ 16 h 387"/>
                <a:gd name="T100" fmla="*/ 35 w 352"/>
                <a:gd name="T101" fmla="*/ 13 h 387"/>
                <a:gd name="T102" fmla="*/ 34 w 352"/>
                <a:gd name="T103" fmla="*/ 1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2 w 52"/>
                <a:gd name="T1" fmla="*/ 0 h 78"/>
                <a:gd name="T2" fmla="*/ 2 w 52"/>
                <a:gd name="T3" fmla="*/ 0 h 78"/>
                <a:gd name="T4" fmla="*/ 3 w 52"/>
                <a:gd name="T5" fmla="*/ 0 h 78"/>
                <a:gd name="T6" fmla="*/ 3 w 52"/>
                <a:gd name="T7" fmla="*/ 1 h 78"/>
                <a:gd name="T8" fmla="*/ 4 w 52"/>
                <a:gd name="T9" fmla="*/ 1 h 78"/>
                <a:gd name="T10" fmla="*/ 4 w 52"/>
                <a:gd name="T11" fmla="*/ 1 h 78"/>
                <a:gd name="T12" fmla="*/ 5 w 52"/>
                <a:gd name="T13" fmla="*/ 2 h 78"/>
                <a:gd name="T14" fmla="*/ 5 w 52"/>
                <a:gd name="T15" fmla="*/ 2 h 78"/>
                <a:gd name="T16" fmla="*/ 5 w 52"/>
                <a:gd name="T17" fmla="*/ 3 h 78"/>
                <a:gd name="T18" fmla="*/ 6 w 52"/>
                <a:gd name="T19" fmla="*/ 4 h 78"/>
                <a:gd name="T20" fmla="*/ 6 w 52"/>
                <a:gd name="T21" fmla="*/ 5 h 78"/>
                <a:gd name="T22" fmla="*/ 6 w 52"/>
                <a:gd name="T23" fmla="*/ 5 h 78"/>
                <a:gd name="T24" fmla="*/ 5 w 52"/>
                <a:gd name="T25" fmla="*/ 6 h 78"/>
                <a:gd name="T26" fmla="*/ 5 w 52"/>
                <a:gd name="T27" fmla="*/ 6 h 78"/>
                <a:gd name="T28" fmla="*/ 5 w 52"/>
                <a:gd name="T29" fmla="*/ 7 h 78"/>
                <a:gd name="T30" fmla="*/ 4 w 52"/>
                <a:gd name="T31" fmla="*/ 7 h 78"/>
                <a:gd name="T32" fmla="*/ 4 w 52"/>
                <a:gd name="T33" fmla="*/ 8 h 78"/>
                <a:gd name="T34" fmla="*/ 3 w 52"/>
                <a:gd name="T35" fmla="*/ 8 h 78"/>
                <a:gd name="T36" fmla="*/ 2 w 52"/>
                <a:gd name="T37" fmla="*/ 9 h 78"/>
                <a:gd name="T38" fmla="*/ 1 w 52"/>
                <a:gd name="T39" fmla="*/ 9 h 78"/>
                <a:gd name="T40" fmla="*/ 1 w 52"/>
                <a:gd name="T41" fmla="*/ 9 h 78"/>
                <a:gd name="T42" fmla="*/ 0 w 52"/>
                <a:gd name="T43" fmla="*/ 9 h 78"/>
                <a:gd name="T44" fmla="*/ 0 w 52"/>
                <a:gd name="T45" fmla="*/ 9 h 78"/>
                <a:gd name="T46" fmla="*/ 0 w 52"/>
                <a:gd name="T47" fmla="*/ 8 h 78"/>
                <a:gd name="T48" fmla="*/ 0 w 52"/>
                <a:gd name="T49" fmla="*/ 8 h 78"/>
                <a:gd name="T50" fmla="*/ 0 w 52"/>
                <a:gd name="T51" fmla="*/ 8 h 78"/>
                <a:gd name="T52" fmla="*/ 0 w 52"/>
                <a:gd name="T53" fmla="*/ 7 h 78"/>
                <a:gd name="T54" fmla="*/ 0 w 52"/>
                <a:gd name="T55" fmla="*/ 7 h 78"/>
                <a:gd name="T56" fmla="*/ 1 w 52"/>
                <a:gd name="T57" fmla="*/ 6 h 78"/>
                <a:gd name="T58" fmla="*/ 2 w 52"/>
                <a:gd name="T59" fmla="*/ 5 h 78"/>
                <a:gd name="T60" fmla="*/ 3 w 52"/>
                <a:gd name="T61" fmla="*/ 5 h 78"/>
                <a:gd name="T62" fmla="*/ 3 w 52"/>
                <a:gd name="T63" fmla="*/ 4 h 78"/>
                <a:gd name="T64" fmla="*/ 2 w 52"/>
                <a:gd name="T65" fmla="*/ 2 h 78"/>
                <a:gd name="T66" fmla="*/ 2 w 52"/>
                <a:gd name="T67" fmla="*/ 1 h 78"/>
                <a:gd name="T68" fmla="*/ 2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 w 33"/>
                <a:gd name="T1" fmla="*/ 1 h 30"/>
                <a:gd name="T2" fmla="*/ 0 w 33"/>
                <a:gd name="T3" fmla="*/ 3 h 30"/>
                <a:gd name="T4" fmla="*/ 1 w 33"/>
                <a:gd name="T5" fmla="*/ 3 h 30"/>
                <a:gd name="T6" fmla="*/ 1 w 33"/>
                <a:gd name="T7" fmla="*/ 3 h 30"/>
                <a:gd name="T8" fmla="*/ 2 w 33"/>
                <a:gd name="T9" fmla="*/ 3 h 30"/>
                <a:gd name="T10" fmla="*/ 2 w 33"/>
                <a:gd name="T11" fmla="*/ 3 h 30"/>
                <a:gd name="T12" fmla="*/ 2 w 33"/>
                <a:gd name="T13" fmla="*/ 0 h 30"/>
                <a:gd name="T14" fmla="*/ 1 w 33"/>
                <a:gd name="T15" fmla="*/ 0 h 30"/>
                <a:gd name="T16" fmla="*/ 1 w 33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2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646194" y="6905469"/>
            <a:ext cx="19050" cy="58738"/>
          </a:xfrm>
          <a:custGeom>
            <a:avLst/>
            <a:gdLst>
              <a:gd name="T0" fmla="*/ 2135627 w 47"/>
              <a:gd name="T1" fmla="*/ 0 h 28"/>
              <a:gd name="T2" fmla="*/ 4107099 w 47"/>
              <a:gd name="T3" fmla="*/ 0 h 28"/>
              <a:gd name="T4" fmla="*/ 5092835 w 47"/>
              <a:gd name="T5" fmla="*/ 8802309 h 28"/>
              <a:gd name="T6" fmla="*/ 5421549 w 47"/>
              <a:gd name="T7" fmla="*/ 17602520 h 28"/>
              <a:gd name="T8" fmla="*/ 5421549 w 47"/>
              <a:gd name="T9" fmla="*/ 26404829 h 28"/>
              <a:gd name="T10" fmla="*/ 5256989 w 47"/>
              <a:gd name="T11" fmla="*/ 35205040 h 28"/>
              <a:gd name="T12" fmla="*/ 5421549 w 47"/>
              <a:gd name="T13" fmla="*/ 44007349 h 28"/>
              <a:gd name="T14" fmla="*/ 6078571 w 47"/>
              <a:gd name="T15" fmla="*/ 52807560 h 28"/>
              <a:gd name="T16" fmla="*/ 7721330 w 47"/>
              <a:gd name="T17" fmla="*/ 52807560 h 28"/>
              <a:gd name="T18" fmla="*/ 6899748 w 47"/>
              <a:gd name="T19" fmla="*/ 83613543 h 28"/>
              <a:gd name="T20" fmla="*/ 6078571 w 47"/>
              <a:gd name="T21" fmla="*/ 110018372 h 28"/>
              <a:gd name="T22" fmla="*/ 5421549 w 47"/>
              <a:gd name="T23" fmla="*/ 118818583 h 28"/>
              <a:gd name="T24" fmla="*/ 4599967 w 47"/>
              <a:gd name="T25" fmla="*/ 123219737 h 28"/>
              <a:gd name="T26" fmla="*/ 2628495 w 47"/>
              <a:gd name="T27" fmla="*/ 118818583 h 28"/>
              <a:gd name="T28" fmla="*/ 0 w 47"/>
              <a:gd name="T29" fmla="*/ 110018372 h 28"/>
              <a:gd name="T30" fmla="*/ 164154 w 47"/>
              <a:gd name="T31" fmla="*/ 83613543 h 28"/>
              <a:gd name="T32" fmla="*/ 328714 w 47"/>
              <a:gd name="T33" fmla="*/ 66011023 h 28"/>
              <a:gd name="T34" fmla="*/ 657022 w 47"/>
              <a:gd name="T35" fmla="*/ 57208714 h 28"/>
              <a:gd name="T36" fmla="*/ 985736 w 47"/>
              <a:gd name="T37" fmla="*/ 52807560 h 28"/>
              <a:gd name="T38" fmla="*/ 1478604 w 47"/>
              <a:gd name="T39" fmla="*/ 48408503 h 28"/>
              <a:gd name="T40" fmla="*/ 1807318 w 47"/>
              <a:gd name="T41" fmla="*/ 39606194 h 28"/>
              <a:gd name="T42" fmla="*/ 2135627 w 47"/>
              <a:gd name="T43" fmla="*/ 22003674 h 28"/>
              <a:gd name="T44" fmla="*/ 213562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2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617619" y="6932457"/>
            <a:ext cx="23813" cy="57150"/>
          </a:xfrm>
          <a:custGeom>
            <a:avLst/>
            <a:gdLst>
              <a:gd name="T0" fmla="*/ 2624372 w 53"/>
              <a:gd name="T1" fmla="*/ 0 h 33"/>
              <a:gd name="T2" fmla="*/ 5248745 w 53"/>
              <a:gd name="T3" fmla="*/ 2999509 h 33"/>
              <a:gd name="T4" fmla="*/ 6863536 w 53"/>
              <a:gd name="T5" fmla="*/ 2999509 h 33"/>
              <a:gd name="T6" fmla="*/ 7469195 w 53"/>
              <a:gd name="T7" fmla="*/ 8996795 h 33"/>
              <a:gd name="T8" fmla="*/ 7469195 w 53"/>
              <a:gd name="T9" fmla="*/ 11996305 h 33"/>
              <a:gd name="T10" fmla="*/ 7469195 w 53"/>
              <a:gd name="T11" fmla="*/ 17995323 h 33"/>
              <a:gd name="T12" fmla="*/ 7873117 w 53"/>
              <a:gd name="T13" fmla="*/ 23994341 h 33"/>
              <a:gd name="T14" fmla="*/ 8882249 w 53"/>
              <a:gd name="T15" fmla="*/ 29991627 h 33"/>
              <a:gd name="T16" fmla="*/ 10699226 w 53"/>
              <a:gd name="T17" fmla="*/ 35990645 h 33"/>
              <a:gd name="T18" fmla="*/ 9689644 w 53"/>
              <a:gd name="T19" fmla="*/ 65982273 h 33"/>
              <a:gd name="T20" fmla="*/ 8882249 w 53"/>
              <a:gd name="T21" fmla="*/ 83977595 h 33"/>
              <a:gd name="T22" fmla="*/ 8478776 w 53"/>
              <a:gd name="T23" fmla="*/ 92974391 h 33"/>
              <a:gd name="T24" fmla="*/ 7670931 w 53"/>
              <a:gd name="T25" fmla="*/ 95973900 h 33"/>
              <a:gd name="T26" fmla="*/ 7267458 w 53"/>
              <a:gd name="T27" fmla="*/ 98973409 h 33"/>
              <a:gd name="T28" fmla="*/ 6863536 w 53"/>
              <a:gd name="T29" fmla="*/ 98973409 h 33"/>
              <a:gd name="T30" fmla="*/ 4037427 w 53"/>
              <a:gd name="T31" fmla="*/ 89976614 h 33"/>
              <a:gd name="T32" fmla="*/ 0 w 53"/>
              <a:gd name="T33" fmla="*/ 71981291 h 33"/>
              <a:gd name="T34" fmla="*/ 0 w 53"/>
              <a:gd name="T35" fmla="*/ 56985477 h 33"/>
              <a:gd name="T36" fmla="*/ 403922 w 53"/>
              <a:gd name="T37" fmla="*/ 47986950 h 33"/>
              <a:gd name="T38" fmla="*/ 807395 w 53"/>
              <a:gd name="T39" fmla="*/ 41987932 h 33"/>
              <a:gd name="T40" fmla="*/ 1413054 w 53"/>
              <a:gd name="T41" fmla="*/ 35990645 h 33"/>
              <a:gd name="T42" fmla="*/ 1816977 w 53"/>
              <a:gd name="T43" fmla="*/ 32991136 h 33"/>
              <a:gd name="T44" fmla="*/ 2220450 w 53"/>
              <a:gd name="T45" fmla="*/ 26992118 h 33"/>
              <a:gd name="T46" fmla="*/ 2422636 w 53"/>
              <a:gd name="T47" fmla="*/ 17995323 h 33"/>
              <a:gd name="T48" fmla="*/ 2624372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2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458869" y="6424457"/>
            <a:ext cx="168275" cy="103187"/>
            <a:chOff x="3481" y="2773"/>
            <a:chExt cx="125" cy="65"/>
          </a:xfrm>
          <a:solidFill>
            <a:srgbClr val="DDC9A3"/>
          </a:solidFill>
        </p:grpSpPr>
        <p:sp>
          <p:nvSpPr>
            <p:cNvPr id="42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2 w 14"/>
                <a:gd name="T1" fmla="*/ 2 h 19"/>
                <a:gd name="T2" fmla="*/ 0 w 14"/>
                <a:gd name="T3" fmla="*/ 0 h 19"/>
                <a:gd name="T4" fmla="*/ 2 w 14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 w 20"/>
                <a:gd name="T1" fmla="*/ 1 h 12"/>
                <a:gd name="T2" fmla="*/ 1 w 20"/>
                <a:gd name="T3" fmla="*/ 1 h 12"/>
                <a:gd name="T4" fmla="*/ 0 w 20"/>
                <a:gd name="T5" fmla="*/ 1 h 12"/>
                <a:gd name="T6" fmla="*/ 0 w 20"/>
                <a:gd name="T7" fmla="*/ 1 h 12"/>
                <a:gd name="T8" fmla="*/ 0 w 20"/>
                <a:gd name="T9" fmla="*/ 0 h 12"/>
                <a:gd name="T10" fmla="*/ 1 w 20"/>
                <a:gd name="T11" fmla="*/ 0 h 12"/>
                <a:gd name="T12" fmla="*/ 2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1 w 7"/>
                <a:gd name="T1" fmla="*/ 1 h 12"/>
                <a:gd name="T2" fmla="*/ 1 w 7"/>
                <a:gd name="T3" fmla="*/ 1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2 w 20"/>
                <a:gd name="T7" fmla="*/ 1 h 18"/>
                <a:gd name="T8" fmla="*/ 2 w 20"/>
                <a:gd name="T9" fmla="*/ 1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w 7"/>
                <a:gd name="T11" fmla="*/ 1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1 w 13"/>
                <a:gd name="T15" fmla="*/ 1 h 18"/>
                <a:gd name="T16" fmla="*/ 2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3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587332" y="6416519"/>
            <a:ext cx="319087" cy="379413"/>
          </a:xfrm>
          <a:custGeom>
            <a:avLst/>
            <a:gdLst>
              <a:gd name="T0" fmla="*/ 11277731 w 736"/>
              <a:gd name="T1" fmla="*/ 189690187 h 721"/>
              <a:gd name="T2" fmla="*/ 17104104 w 736"/>
              <a:gd name="T3" fmla="*/ 184982519 h 721"/>
              <a:gd name="T4" fmla="*/ 23682672 w 736"/>
              <a:gd name="T5" fmla="*/ 184982519 h 721"/>
              <a:gd name="T6" fmla="*/ 36839808 w 736"/>
              <a:gd name="T7" fmla="*/ 191628298 h 721"/>
              <a:gd name="T8" fmla="*/ 46049977 w 736"/>
              <a:gd name="T9" fmla="*/ 195228248 h 721"/>
              <a:gd name="T10" fmla="*/ 54883831 w 736"/>
              <a:gd name="T11" fmla="*/ 194674653 h 721"/>
              <a:gd name="T12" fmla="*/ 114842706 w 736"/>
              <a:gd name="T13" fmla="*/ 198551401 h 721"/>
              <a:gd name="T14" fmla="*/ 122361194 w 736"/>
              <a:gd name="T15" fmla="*/ 195782370 h 721"/>
              <a:gd name="T16" fmla="*/ 117850188 w 736"/>
              <a:gd name="T17" fmla="*/ 181936164 h 721"/>
              <a:gd name="T18" fmla="*/ 124804637 w 736"/>
              <a:gd name="T19" fmla="*/ 119906085 h 721"/>
              <a:gd name="T20" fmla="*/ 133262610 w 736"/>
              <a:gd name="T21" fmla="*/ 118798368 h 721"/>
              <a:gd name="T22" fmla="*/ 135894211 w 736"/>
              <a:gd name="T23" fmla="*/ 115198417 h 721"/>
              <a:gd name="T24" fmla="*/ 137961773 w 736"/>
              <a:gd name="T25" fmla="*/ 99690897 h 721"/>
              <a:gd name="T26" fmla="*/ 135706054 w 736"/>
              <a:gd name="T27" fmla="*/ 83629782 h 721"/>
              <a:gd name="T28" fmla="*/ 133074887 w 736"/>
              <a:gd name="T29" fmla="*/ 84183378 h 721"/>
              <a:gd name="T30" fmla="*/ 127059923 w 736"/>
              <a:gd name="T31" fmla="*/ 83075660 h 721"/>
              <a:gd name="T32" fmla="*/ 119165988 w 736"/>
              <a:gd name="T33" fmla="*/ 82798862 h 721"/>
              <a:gd name="T34" fmla="*/ 117098426 w 736"/>
              <a:gd name="T35" fmla="*/ 80306629 h 721"/>
              <a:gd name="T36" fmla="*/ 115970349 w 736"/>
              <a:gd name="T37" fmla="*/ 70060900 h 721"/>
              <a:gd name="T38" fmla="*/ 114090944 w 736"/>
              <a:gd name="T39" fmla="*/ 60645563 h 721"/>
              <a:gd name="T40" fmla="*/ 112211539 w 736"/>
              <a:gd name="T41" fmla="*/ 51507025 h 721"/>
              <a:gd name="T42" fmla="*/ 114090944 w 736"/>
              <a:gd name="T43" fmla="*/ 46245761 h 721"/>
              <a:gd name="T44" fmla="*/ 115970349 w 736"/>
              <a:gd name="T45" fmla="*/ 40983971 h 721"/>
              <a:gd name="T46" fmla="*/ 114842706 w 736"/>
              <a:gd name="T47" fmla="*/ 27691887 h 721"/>
              <a:gd name="T48" fmla="*/ 102249608 w 736"/>
              <a:gd name="T49" fmla="*/ 19384268 h 721"/>
              <a:gd name="T50" fmla="*/ 89656510 w 736"/>
              <a:gd name="T51" fmla="*/ 18276550 h 721"/>
              <a:gd name="T52" fmla="*/ 88528434 w 736"/>
              <a:gd name="T53" fmla="*/ 22430623 h 721"/>
              <a:gd name="T54" fmla="*/ 87024910 w 736"/>
              <a:gd name="T55" fmla="*/ 27968685 h 721"/>
              <a:gd name="T56" fmla="*/ 82702061 w 736"/>
              <a:gd name="T57" fmla="*/ 33784070 h 721"/>
              <a:gd name="T58" fmla="*/ 73680050 w 736"/>
              <a:gd name="T59" fmla="*/ 35999505 h 721"/>
              <a:gd name="T60" fmla="*/ 68416848 w 736"/>
              <a:gd name="T61" fmla="*/ 31845959 h 721"/>
              <a:gd name="T62" fmla="*/ 63718119 w 736"/>
              <a:gd name="T63" fmla="*/ 22707421 h 721"/>
              <a:gd name="T64" fmla="*/ 59958875 w 736"/>
              <a:gd name="T65" fmla="*/ 10799852 h 721"/>
              <a:gd name="T66" fmla="*/ 58643075 w 736"/>
              <a:gd name="T67" fmla="*/ 0 h 721"/>
              <a:gd name="T68" fmla="*/ 5638649 w 736"/>
              <a:gd name="T69" fmla="*/ 4153546 h 721"/>
              <a:gd name="T70" fmla="*/ 8833854 w 736"/>
              <a:gd name="T71" fmla="*/ 8030821 h 721"/>
              <a:gd name="T72" fmla="*/ 14097056 w 736"/>
              <a:gd name="T73" fmla="*/ 20768783 h 721"/>
              <a:gd name="T74" fmla="*/ 19171666 w 736"/>
              <a:gd name="T75" fmla="*/ 35999505 h 721"/>
              <a:gd name="T76" fmla="*/ 19359823 w 736"/>
              <a:gd name="T77" fmla="*/ 47353479 h 721"/>
              <a:gd name="T78" fmla="*/ 17479985 w 736"/>
              <a:gd name="T79" fmla="*/ 56214693 h 721"/>
              <a:gd name="T80" fmla="*/ 18044023 w 736"/>
              <a:gd name="T81" fmla="*/ 63414594 h 721"/>
              <a:gd name="T82" fmla="*/ 22367305 w 736"/>
              <a:gd name="T83" fmla="*/ 75322163 h 721"/>
              <a:gd name="T84" fmla="*/ 24622591 w 736"/>
              <a:gd name="T85" fmla="*/ 85014297 h 721"/>
              <a:gd name="T86" fmla="*/ 23870829 w 736"/>
              <a:gd name="T87" fmla="*/ 97475988 h 721"/>
              <a:gd name="T88" fmla="*/ 19923428 w 736"/>
              <a:gd name="T89" fmla="*/ 111598466 h 721"/>
              <a:gd name="T90" fmla="*/ 14472937 w 736"/>
              <a:gd name="T91" fmla="*/ 123506036 h 721"/>
              <a:gd name="T92" fmla="*/ 7706211 w 736"/>
              <a:gd name="T93" fmla="*/ 132090452 h 721"/>
              <a:gd name="T94" fmla="*/ 4699163 w 736"/>
              <a:gd name="T95" fmla="*/ 163659613 h 721"/>
              <a:gd name="T96" fmla="*/ 2067562 w 736"/>
              <a:gd name="T97" fmla="*/ 173628545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3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598444" y="6389532"/>
            <a:ext cx="15875" cy="60325"/>
          </a:xfrm>
          <a:custGeom>
            <a:avLst/>
            <a:gdLst>
              <a:gd name="T0" fmla="*/ 0 w 39"/>
              <a:gd name="T1" fmla="*/ 117390504 h 31"/>
              <a:gd name="T2" fmla="*/ 1988446 w 39"/>
              <a:gd name="T3" fmla="*/ 106029944 h 31"/>
              <a:gd name="T4" fmla="*/ 3645144 w 39"/>
              <a:gd name="T5" fmla="*/ 106029944 h 31"/>
              <a:gd name="T6" fmla="*/ 4307824 w 39"/>
              <a:gd name="T7" fmla="*/ 106029944 h 31"/>
              <a:gd name="T8" fmla="*/ 4970910 w 39"/>
              <a:gd name="T9" fmla="*/ 106029944 h 31"/>
              <a:gd name="T10" fmla="*/ 5799260 w 39"/>
              <a:gd name="T11" fmla="*/ 102243091 h 31"/>
              <a:gd name="T12" fmla="*/ 6461939 w 39"/>
              <a:gd name="T13" fmla="*/ 94669385 h 31"/>
              <a:gd name="T14" fmla="*/ 6461939 w 39"/>
              <a:gd name="T15" fmla="*/ 0 h 31"/>
              <a:gd name="T16" fmla="*/ 4307824 w 39"/>
              <a:gd name="T17" fmla="*/ 0 h 31"/>
              <a:gd name="T18" fmla="*/ 2816795 w 39"/>
              <a:gd name="T19" fmla="*/ 0 h 31"/>
              <a:gd name="T20" fmla="*/ 1325359 w 39"/>
              <a:gd name="T21" fmla="*/ 0 h 31"/>
              <a:gd name="T22" fmla="*/ 0 w 39"/>
              <a:gd name="T23" fmla="*/ 0 h 31"/>
              <a:gd name="T24" fmla="*/ 0 w 39"/>
              <a:gd name="T25" fmla="*/ 117390504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700044" y="6932457"/>
            <a:ext cx="396875" cy="398462"/>
          </a:xfrm>
          <a:custGeom>
            <a:avLst/>
            <a:gdLst>
              <a:gd name="T0" fmla="*/ 173656766 w 903"/>
              <a:gd name="T1" fmla="*/ 80201633 h 759"/>
              <a:gd name="T2" fmla="*/ 166702883 w 903"/>
              <a:gd name="T3" fmla="*/ 106935336 h 759"/>
              <a:gd name="T4" fmla="*/ 160714597 w 903"/>
              <a:gd name="T5" fmla="*/ 114101352 h 759"/>
              <a:gd name="T6" fmla="*/ 146999775 w 903"/>
              <a:gd name="T7" fmla="*/ 139732591 h 759"/>
              <a:gd name="T8" fmla="*/ 139079855 w 903"/>
              <a:gd name="T9" fmla="*/ 154615331 h 759"/>
              <a:gd name="T10" fmla="*/ 124978706 w 903"/>
              <a:gd name="T11" fmla="*/ 168947363 h 759"/>
              <a:gd name="T12" fmla="*/ 112616248 w 903"/>
              <a:gd name="T13" fmla="*/ 183554486 h 759"/>
              <a:gd name="T14" fmla="*/ 107593999 w 903"/>
              <a:gd name="T15" fmla="*/ 192373674 h 759"/>
              <a:gd name="T16" fmla="*/ 100446733 w 903"/>
              <a:gd name="T17" fmla="*/ 194302986 h 759"/>
              <a:gd name="T18" fmla="*/ 95810811 w 903"/>
              <a:gd name="T19" fmla="*/ 195681066 h 759"/>
              <a:gd name="T20" fmla="*/ 93685794 w 903"/>
              <a:gd name="T21" fmla="*/ 200366538 h 759"/>
              <a:gd name="T22" fmla="*/ 71858108 w 903"/>
              <a:gd name="T23" fmla="*/ 200366538 h 759"/>
              <a:gd name="T24" fmla="*/ 65483496 w 903"/>
              <a:gd name="T25" fmla="*/ 201744093 h 759"/>
              <a:gd name="T26" fmla="*/ 61040518 w 903"/>
              <a:gd name="T27" fmla="*/ 201744093 h 759"/>
              <a:gd name="T28" fmla="*/ 55245615 w 903"/>
              <a:gd name="T29" fmla="*/ 200366538 h 759"/>
              <a:gd name="T30" fmla="*/ 50802637 w 903"/>
              <a:gd name="T31" fmla="*/ 203122173 h 759"/>
              <a:gd name="T32" fmla="*/ 28202298 w 903"/>
              <a:gd name="T33" fmla="*/ 209185725 h 759"/>
              <a:gd name="T34" fmla="*/ 22407395 w 903"/>
              <a:gd name="T35" fmla="*/ 207532029 h 759"/>
              <a:gd name="T36" fmla="*/ 17385147 w 903"/>
              <a:gd name="T37" fmla="*/ 203673405 h 759"/>
              <a:gd name="T38" fmla="*/ 14680859 w 903"/>
              <a:gd name="T39" fmla="*/ 198161610 h 759"/>
              <a:gd name="T40" fmla="*/ 15260129 w 903"/>
              <a:gd name="T41" fmla="*/ 192098058 h 759"/>
              <a:gd name="T42" fmla="*/ 14487476 w 903"/>
              <a:gd name="T43" fmla="*/ 173081078 h 759"/>
              <a:gd name="T44" fmla="*/ 15260129 w 903"/>
              <a:gd name="T45" fmla="*/ 167569283 h 759"/>
              <a:gd name="T46" fmla="*/ 13135112 w 903"/>
              <a:gd name="T47" fmla="*/ 157647107 h 759"/>
              <a:gd name="T48" fmla="*/ 4249595 w 903"/>
              <a:gd name="T49" fmla="*/ 142213135 h 759"/>
              <a:gd name="T50" fmla="*/ 2317961 w 903"/>
              <a:gd name="T51" fmla="*/ 133393948 h 759"/>
              <a:gd name="T52" fmla="*/ 1931634 w 903"/>
              <a:gd name="T53" fmla="*/ 120991228 h 759"/>
              <a:gd name="T54" fmla="*/ 0 w 903"/>
              <a:gd name="T55" fmla="*/ 103904085 h 759"/>
              <a:gd name="T56" fmla="*/ 7533593 w 903"/>
              <a:gd name="T57" fmla="*/ 103904085 h 759"/>
              <a:gd name="T58" fmla="*/ 11010534 w 903"/>
              <a:gd name="T59" fmla="*/ 109140264 h 759"/>
              <a:gd name="T60" fmla="*/ 18157800 w 903"/>
              <a:gd name="T61" fmla="*/ 112998888 h 759"/>
              <a:gd name="T62" fmla="*/ 26077281 w 903"/>
              <a:gd name="T63" fmla="*/ 113274504 h 759"/>
              <a:gd name="T64" fmla="*/ 30906586 w 903"/>
              <a:gd name="T65" fmla="*/ 110242728 h 759"/>
              <a:gd name="T66" fmla="*/ 35156181 w 903"/>
              <a:gd name="T67" fmla="*/ 102526005 h 759"/>
              <a:gd name="T68" fmla="*/ 38053852 w 903"/>
              <a:gd name="T69" fmla="*/ 63113966 h 759"/>
              <a:gd name="T70" fmla="*/ 39405776 w 903"/>
              <a:gd name="T71" fmla="*/ 50711771 h 759"/>
              <a:gd name="T72" fmla="*/ 40565196 w 903"/>
              <a:gd name="T73" fmla="*/ 46301914 h 759"/>
              <a:gd name="T74" fmla="*/ 46166715 w 903"/>
              <a:gd name="T75" fmla="*/ 49058074 h 759"/>
              <a:gd name="T76" fmla="*/ 47325696 w 903"/>
              <a:gd name="T77" fmla="*/ 65594510 h 759"/>
              <a:gd name="T78" fmla="*/ 47712022 w 903"/>
              <a:gd name="T79" fmla="*/ 75516161 h 759"/>
              <a:gd name="T80" fmla="*/ 49450713 w 903"/>
              <a:gd name="T81" fmla="*/ 79099169 h 759"/>
              <a:gd name="T82" fmla="*/ 55438998 w 903"/>
              <a:gd name="T83" fmla="*/ 81304097 h 759"/>
              <a:gd name="T84" fmla="*/ 60267864 w 903"/>
              <a:gd name="T85" fmla="*/ 80752865 h 759"/>
              <a:gd name="T86" fmla="*/ 64324516 w 903"/>
              <a:gd name="T87" fmla="*/ 74964929 h 759"/>
              <a:gd name="T88" fmla="*/ 67608513 w 903"/>
              <a:gd name="T89" fmla="*/ 64492046 h 759"/>
              <a:gd name="T90" fmla="*/ 71085455 w 903"/>
              <a:gd name="T91" fmla="*/ 55397243 h 759"/>
              <a:gd name="T92" fmla="*/ 74755340 w 903"/>
              <a:gd name="T93" fmla="*/ 52641083 h 759"/>
              <a:gd name="T94" fmla="*/ 79970972 w 903"/>
              <a:gd name="T95" fmla="*/ 53192315 h 759"/>
              <a:gd name="T96" fmla="*/ 87118238 w 903"/>
              <a:gd name="T97" fmla="*/ 57326030 h 759"/>
              <a:gd name="T98" fmla="*/ 92333430 w 903"/>
              <a:gd name="T99" fmla="*/ 59530958 h 759"/>
              <a:gd name="T100" fmla="*/ 98901426 w 903"/>
              <a:gd name="T101" fmla="*/ 58704110 h 759"/>
              <a:gd name="T102" fmla="*/ 102571311 w 903"/>
              <a:gd name="T103" fmla="*/ 55121627 h 759"/>
              <a:gd name="T104" fmla="*/ 108945923 w 903"/>
              <a:gd name="T105" fmla="*/ 35002183 h 759"/>
              <a:gd name="T106" fmla="*/ 119763074 w 903"/>
              <a:gd name="T107" fmla="*/ 22048756 h 759"/>
              <a:gd name="T108" fmla="*/ 141397816 w 903"/>
              <a:gd name="T109" fmla="*/ 3031776 h 759"/>
              <a:gd name="T110" fmla="*/ 155692348 w 903"/>
              <a:gd name="T111" fmla="*/ 826848 h 759"/>
              <a:gd name="T112" fmla="*/ 160328270 w 903"/>
              <a:gd name="T113" fmla="*/ 1653696 h 759"/>
              <a:gd name="T114" fmla="*/ 164964192 w 903"/>
              <a:gd name="T115" fmla="*/ 9646035 h 759"/>
              <a:gd name="T116" fmla="*/ 168634517 w 903"/>
              <a:gd name="T117" fmla="*/ 19568212 h 759"/>
              <a:gd name="T118" fmla="*/ 170566151 w 903"/>
              <a:gd name="T119" fmla="*/ 29489863 h 759"/>
              <a:gd name="T120" fmla="*/ 167668480 w 903"/>
              <a:gd name="T121" fmla="*/ 57050414 h 759"/>
              <a:gd name="T122" fmla="*/ 160328270 w 903"/>
              <a:gd name="T123" fmla="*/ 56224091 h 759"/>
              <a:gd name="T124" fmla="*/ 159555617 w 903"/>
              <a:gd name="T125" fmla="*/ 77445473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847682" y="5500532"/>
            <a:ext cx="411162" cy="611187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4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631657" y="5702144"/>
            <a:ext cx="80962" cy="82550"/>
            <a:chOff x="2352" y="2343"/>
            <a:chExt cx="65" cy="53"/>
          </a:xfrm>
          <a:solidFill>
            <a:srgbClr val="DDC9A3"/>
          </a:solidFill>
        </p:grpSpPr>
        <p:sp>
          <p:nvSpPr>
            <p:cNvPr id="44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 w 51"/>
                <a:gd name="T1" fmla="*/ 0 h 33"/>
                <a:gd name="T2" fmla="*/ 0 w 51"/>
                <a:gd name="T3" fmla="*/ 1 h 33"/>
                <a:gd name="T4" fmla="*/ 0 w 51"/>
                <a:gd name="T5" fmla="*/ 3 h 33"/>
                <a:gd name="T6" fmla="*/ 1 w 51"/>
                <a:gd name="T7" fmla="*/ 4 h 33"/>
                <a:gd name="T8" fmla="*/ 3 w 51"/>
                <a:gd name="T9" fmla="*/ 3 h 33"/>
                <a:gd name="T10" fmla="*/ 5 w 51"/>
                <a:gd name="T11" fmla="*/ 2 h 33"/>
                <a:gd name="T12" fmla="*/ 5 w 51"/>
                <a:gd name="T13" fmla="*/ 1 h 33"/>
                <a:gd name="T14" fmla="*/ 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7 w 61"/>
                <a:gd name="T1" fmla="*/ 1 h 20"/>
                <a:gd name="T2" fmla="*/ 6 w 61"/>
                <a:gd name="T3" fmla="*/ 0 h 20"/>
                <a:gd name="T4" fmla="*/ 0 w 61"/>
                <a:gd name="T5" fmla="*/ 0 h 20"/>
                <a:gd name="T6" fmla="*/ 0 w 61"/>
                <a:gd name="T7" fmla="*/ 2 h 20"/>
                <a:gd name="T8" fmla="*/ 1 w 61"/>
                <a:gd name="T9" fmla="*/ 2 h 20"/>
                <a:gd name="T10" fmla="*/ 2 w 61"/>
                <a:gd name="T11" fmla="*/ 2 h 20"/>
                <a:gd name="T12" fmla="*/ 7 w 61"/>
                <a:gd name="T13" fmla="*/ 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2 h 36"/>
                <a:gd name="T4" fmla="*/ 0 w 15"/>
                <a:gd name="T5" fmla="*/ 4 h 36"/>
                <a:gd name="T6" fmla="*/ 1 w 15"/>
                <a:gd name="T7" fmla="*/ 4 h 36"/>
                <a:gd name="T8" fmla="*/ 2 w 15"/>
                <a:gd name="T9" fmla="*/ 2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2 w 37"/>
                <a:gd name="T3" fmla="*/ 0 h 33"/>
                <a:gd name="T4" fmla="*/ 3 w 37"/>
                <a:gd name="T5" fmla="*/ 1 h 33"/>
                <a:gd name="T6" fmla="*/ 3 w 37"/>
                <a:gd name="T7" fmla="*/ 2 h 33"/>
                <a:gd name="T8" fmla="*/ 2 w 37"/>
                <a:gd name="T9" fmla="*/ 4 h 33"/>
                <a:gd name="T10" fmla="*/ 1 w 37"/>
                <a:gd name="T11" fmla="*/ 4 h 33"/>
                <a:gd name="T12" fmla="*/ 0 w 37"/>
                <a:gd name="T13" fmla="*/ 3 h 33"/>
                <a:gd name="T14" fmla="*/ 0 w 37"/>
                <a:gd name="T15" fmla="*/ 2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6 h 54"/>
                <a:gd name="T6" fmla="*/ 2 w 49"/>
                <a:gd name="T7" fmla="*/ 6 h 54"/>
                <a:gd name="T8" fmla="*/ 5 w 49"/>
                <a:gd name="T9" fmla="*/ 5 h 54"/>
                <a:gd name="T10" fmla="*/ 5 w 49"/>
                <a:gd name="T11" fmla="*/ 3 h 54"/>
                <a:gd name="T12" fmla="*/ 4 w 49"/>
                <a:gd name="T13" fmla="*/ 2 h 54"/>
                <a:gd name="T14" fmla="*/ 2 w 49"/>
                <a:gd name="T15" fmla="*/ 1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2 w 26"/>
                <a:gd name="T1" fmla="*/ 0 h 22"/>
                <a:gd name="T2" fmla="*/ 0 w 26"/>
                <a:gd name="T3" fmla="*/ 0 h 22"/>
                <a:gd name="T4" fmla="*/ 0 w 26"/>
                <a:gd name="T5" fmla="*/ 2 h 22"/>
                <a:gd name="T6" fmla="*/ 1 w 26"/>
                <a:gd name="T7" fmla="*/ 2 h 22"/>
                <a:gd name="T8" fmla="*/ 2 w 26"/>
                <a:gd name="T9" fmla="*/ 2 h 22"/>
                <a:gd name="T10" fmla="*/ 3 w 26"/>
                <a:gd name="T11" fmla="*/ 1 h 22"/>
                <a:gd name="T12" fmla="*/ 2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477419" y="3762219"/>
            <a:ext cx="1897063" cy="1133475"/>
            <a:chOff x="527" y="1110"/>
            <a:chExt cx="1410" cy="709"/>
          </a:xfrm>
          <a:solidFill>
            <a:srgbClr val="3C5C4F"/>
          </a:solidFill>
        </p:grpSpPr>
        <p:sp>
          <p:nvSpPr>
            <p:cNvPr id="45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 h 54"/>
                <a:gd name="T2" fmla="*/ 1 w 98"/>
                <a:gd name="T3" fmla="*/ 4 h 54"/>
                <a:gd name="T4" fmla="*/ 1 w 98"/>
                <a:gd name="T5" fmla="*/ 5 h 54"/>
                <a:gd name="T6" fmla="*/ 2 w 98"/>
                <a:gd name="T7" fmla="*/ 5 h 54"/>
                <a:gd name="T8" fmla="*/ 3 w 98"/>
                <a:gd name="T9" fmla="*/ 5 h 54"/>
                <a:gd name="T10" fmla="*/ 4 w 98"/>
                <a:gd name="T11" fmla="*/ 5 h 54"/>
                <a:gd name="T12" fmla="*/ 4 w 98"/>
                <a:gd name="T13" fmla="*/ 5 h 54"/>
                <a:gd name="T14" fmla="*/ 5 w 98"/>
                <a:gd name="T15" fmla="*/ 5 h 54"/>
                <a:gd name="T16" fmla="*/ 6 w 98"/>
                <a:gd name="T17" fmla="*/ 5 h 54"/>
                <a:gd name="T18" fmla="*/ 7 w 98"/>
                <a:gd name="T19" fmla="*/ 4 h 54"/>
                <a:gd name="T20" fmla="*/ 8 w 98"/>
                <a:gd name="T21" fmla="*/ 3 h 54"/>
                <a:gd name="T22" fmla="*/ 9 w 98"/>
                <a:gd name="T23" fmla="*/ 3 h 54"/>
                <a:gd name="T24" fmla="*/ 9 w 98"/>
                <a:gd name="T25" fmla="*/ 2 h 54"/>
                <a:gd name="T26" fmla="*/ 9 w 98"/>
                <a:gd name="T27" fmla="*/ 1 h 54"/>
                <a:gd name="T28" fmla="*/ 10 w 98"/>
                <a:gd name="T29" fmla="*/ 0 h 54"/>
                <a:gd name="T30" fmla="*/ 9 w 98"/>
                <a:gd name="T31" fmla="*/ 0 h 54"/>
                <a:gd name="T32" fmla="*/ 8 w 98"/>
                <a:gd name="T33" fmla="*/ 0 h 54"/>
                <a:gd name="T34" fmla="*/ 8 w 98"/>
                <a:gd name="T35" fmla="*/ 0 h 54"/>
                <a:gd name="T36" fmla="*/ 7 w 98"/>
                <a:gd name="T37" fmla="*/ 0 h 54"/>
                <a:gd name="T38" fmla="*/ 6 w 98"/>
                <a:gd name="T39" fmla="*/ 0 h 54"/>
                <a:gd name="T40" fmla="*/ 5 w 98"/>
                <a:gd name="T41" fmla="*/ 0 h 54"/>
                <a:gd name="T42" fmla="*/ 4 w 98"/>
                <a:gd name="T43" fmla="*/ 1 h 54"/>
                <a:gd name="T44" fmla="*/ 4 w 98"/>
                <a:gd name="T45" fmla="*/ 1 h 54"/>
                <a:gd name="T46" fmla="*/ 2 w 98"/>
                <a:gd name="T47" fmla="*/ 2 h 54"/>
                <a:gd name="T48" fmla="*/ 1 w 98"/>
                <a:gd name="T49" fmla="*/ 3 h 54"/>
                <a:gd name="T50" fmla="*/ 1 w 98"/>
                <a:gd name="T51" fmla="*/ 3 h 54"/>
                <a:gd name="T52" fmla="*/ 0 w 98"/>
                <a:gd name="T53" fmla="*/ 3 h 54"/>
                <a:gd name="T54" fmla="*/ 0 w 98"/>
                <a:gd name="T55" fmla="*/ 4 h 54"/>
                <a:gd name="T56" fmla="*/ 0 w 98"/>
                <a:gd name="T57" fmla="*/ 4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 h 28"/>
                <a:gd name="T2" fmla="*/ 1 w 67"/>
                <a:gd name="T3" fmla="*/ 2 h 28"/>
                <a:gd name="T4" fmla="*/ 2 w 67"/>
                <a:gd name="T5" fmla="*/ 2 h 28"/>
                <a:gd name="T6" fmla="*/ 3 w 67"/>
                <a:gd name="T7" fmla="*/ 2 h 28"/>
                <a:gd name="T8" fmla="*/ 4 w 67"/>
                <a:gd name="T9" fmla="*/ 2 h 28"/>
                <a:gd name="T10" fmla="*/ 5 w 67"/>
                <a:gd name="T11" fmla="*/ 1 h 28"/>
                <a:gd name="T12" fmla="*/ 6 w 67"/>
                <a:gd name="T13" fmla="*/ 1 h 28"/>
                <a:gd name="T14" fmla="*/ 6 w 67"/>
                <a:gd name="T15" fmla="*/ 1 h 28"/>
                <a:gd name="T16" fmla="*/ 7 w 67"/>
                <a:gd name="T17" fmla="*/ 0 h 28"/>
                <a:gd name="T18" fmla="*/ 6 w 67"/>
                <a:gd name="T19" fmla="*/ 0 h 28"/>
                <a:gd name="T20" fmla="*/ 4 w 67"/>
                <a:gd name="T21" fmla="*/ 0 h 28"/>
                <a:gd name="T22" fmla="*/ 3 w 67"/>
                <a:gd name="T23" fmla="*/ 0 h 28"/>
                <a:gd name="T24" fmla="*/ 3 w 67"/>
                <a:gd name="T25" fmla="*/ 0 h 28"/>
                <a:gd name="T26" fmla="*/ 2 w 67"/>
                <a:gd name="T27" fmla="*/ 1 h 28"/>
                <a:gd name="T28" fmla="*/ 1 w 67"/>
                <a:gd name="T29" fmla="*/ 1 h 28"/>
                <a:gd name="T30" fmla="*/ 1 w 67"/>
                <a:gd name="T31" fmla="*/ 1 h 28"/>
                <a:gd name="T32" fmla="*/ 0 w 67"/>
                <a:gd name="T33" fmla="*/ 1 h 28"/>
                <a:gd name="T34" fmla="*/ 0 w 67"/>
                <a:gd name="T35" fmla="*/ 2 h 28"/>
                <a:gd name="T36" fmla="*/ 0 w 67"/>
                <a:gd name="T37" fmla="*/ 2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2 h 36"/>
                <a:gd name="T2" fmla="*/ 0 w 32"/>
                <a:gd name="T3" fmla="*/ 2 h 36"/>
                <a:gd name="T4" fmla="*/ 0 w 32"/>
                <a:gd name="T5" fmla="*/ 3 h 36"/>
                <a:gd name="T6" fmla="*/ 1 w 32"/>
                <a:gd name="T7" fmla="*/ 3 h 36"/>
                <a:gd name="T8" fmla="*/ 1 w 32"/>
                <a:gd name="T9" fmla="*/ 3 h 36"/>
                <a:gd name="T10" fmla="*/ 1 w 32"/>
                <a:gd name="T11" fmla="*/ 3 h 36"/>
                <a:gd name="T12" fmla="*/ 1 w 32"/>
                <a:gd name="T13" fmla="*/ 3 h 36"/>
                <a:gd name="T14" fmla="*/ 4 w 32"/>
                <a:gd name="T15" fmla="*/ 3 h 36"/>
                <a:gd name="T16" fmla="*/ 4 w 32"/>
                <a:gd name="T17" fmla="*/ 2 h 36"/>
                <a:gd name="T18" fmla="*/ 4 w 32"/>
                <a:gd name="T19" fmla="*/ 1 h 36"/>
                <a:gd name="T20" fmla="*/ 3 w 32"/>
                <a:gd name="T21" fmla="*/ 1 h 36"/>
                <a:gd name="T22" fmla="*/ 3 w 32"/>
                <a:gd name="T23" fmla="*/ 0 h 36"/>
                <a:gd name="T24" fmla="*/ 2 w 32"/>
                <a:gd name="T25" fmla="*/ 0 h 36"/>
                <a:gd name="T26" fmla="*/ 1 w 32"/>
                <a:gd name="T27" fmla="*/ 1 h 36"/>
                <a:gd name="T28" fmla="*/ 1 w 32"/>
                <a:gd name="T29" fmla="*/ 1 h 36"/>
                <a:gd name="T30" fmla="*/ 0 w 32"/>
                <a:gd name="T31" fmla="*/ 1 h 36"/>
                <a:gd name="T32" fmla="*/ 0 w 32"/>
                <a:gd name="T33" fmla="*/ 2 h 36"/>
                <a:gd name="T34" fmla="*/ 0 w 32"/>
                <a:gd name="T35" fmla="*/ 2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5 h 52"/>
                <a:gd name="T2" fmla="*/ 1 w 146"/>
                <a:gd name="T3" fmla="*/ 5 h 52"/>
                <a:gd name="T4" fmla="*/ 2 w 146"/>
                <a:gd name="T5" fmla="*/ 5 h 52"/>
                <a:gd name="T6" fmla="*/ 3 w 146"/>
                <a:gd name="T7" fmla="*/ 6 h 52"/>
                <a:gd name="T8" fmla="*/ 4 w 146"/>
                <a:gd name="T9" fmla="*/ 6 h 52"/>
                <a:gd name="T10" fmla="*/ 6 w 146"/>
                <a:gd name="T11" fmla="*/ 6 h 52"/>
                <a:gd name="T12" fmla="*/ 8 w 146"/>
                <a:gd name="T13" fmla="*/ 6 h 52"/>
                <a:gd name="T14" fmla="*/ 12 w 146"/>
                <a:gd name="T15" fmla="*/ 5 h 52"/>
                <a:gd name="T16" fmla="*/ 14 w 146"/>
                <a:gd name="T17" fmla="*/ 5 h 52"/>
                <a:gd name="T18" fmla="*/ 14 w 146"/>
                <a:gd name="T19" fmla="*/ 4 h 52"/>
                <a:gd name="T20" fmla="*/ 14 w 146"/>
                <a:gd name="T21" fmla="*/ 3 h 52"/>
                <a:gd name="T22" fmla="*/ 14 w 146"/>
                <a:gd name="T23" fmla="*/ 3 h 52"/>
                <a:gd name="T24" fmla="*/ 14 w 146"/>
                <a:gd name="T25" fmla="*/ 2 h 52"/>
                <a:gd name="T26" fmla="*/ 13 w 146"/>
                <a:gd name="T27" fmla="*/ 2 h 52"/>
                <a:gd name="T28" fmla="*/ 13 w 146"/>
                <a:gd name="T29" fmla="*/ 1 h 52"/>
                <a:gd name="T30" fmla="*/ 12 w 146"/>
                <a:gd name="T31" fmla="*/ 1 h 52"/>
                <a:gd name="T32" fmla="*/ 12 w 146"/>
                <a:gd name="T33" fmla="*/ 1 h 52"/>
                <a:gd name="T34" fmla="*/ 11 w 146"/>
                <a:gd name="T35" fmla="*/ 0 h 52"/>
                <a:gd name="T36" fmla="*/ 10 w 146"/>
                <a:gd name="T37" fmla="*/ 0 h 52"/>
                <a:gd name="T38" fmla="*/ 9 w 146"/>
                <a:gd name="T39" fmla="*/ 0 h 52"/>
                <a:gd name="T40" fmla="*/ 8 w 146"/>
                <a:gd name="T41" fmla="*/ 0 h 52"/>
                <a:gd name="T42" fmla="*/ 7 w 146"/>
                <a:gd name="T43" fmla="*/ 1 h 52"/>
                <a:gd name="T44" fmla="*/ 5 w 146"/>
                <a:gd name="T45" fmla="*/ 1 h 52"/>
                <a:gd name="T46" fmla="*/ 4 w 146"/>
                <a:gd name="T47" fmla="*/ 2 h 52"/>
                <a:gd name="T48" fmla="*/ 3 w 146"/>
                <a:gd name="T49" fmla="*/ 2 h 52"/>
                <a:gd name="T50" fmla="*/ 2 w 146"/>
                <a:gd name="T51" fmla="*/ 3 h 52"/>
                <a:gd name="T52" fmla="*/ 1 w 146"/>
                <a:gd name="T53" fmla="*/ 3 h 52"/>
                <a:gd name="T54" fmla="*/ 1 w 146"/>
                <a:gd name="T55" fmla="*/ 4 h 52"/>
                <a:gd name="T56" fmla="*/ 0 w 146"/>
                <a:gd name="T57" fmla="*/ 5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7 w 60"/>
                <a:gd name="T1" fmla="*/ 0 h 31"/>
                <a:gd name="T2" fmla="*/ 5 w 60"/>
                <a:gd name="T3" fmla="*/ 0 h 31"/>
                <a:gd name="T4" fmla="*/ 4 w 60"/>
                <a:gd name="T5" fmla="*/ 0 h 31"/>
                <a:gd name="T6" fmla="*/ 3 w 60"/>
                <a:gd name="T7" fmla="*/ 0 h 31"/>
                <a:gd name="T8" fmla="*/ 3 w 60"/>
                <a:gd name="T9" fmla="*/ 0 h 31"/>
                <a:gd name="T10" fmla="*/ 2 w 60"/>
                <a:gd name="T11" fmla="*/ 0 h 31"/>
                <a:gd name="T12" fmla="*/ 1 w 60"/>
                <a:gd name="T13" fmla="*/ 0 h 31"/>
                <a:gd name="T14" fmla="*/ 1 w 60"/>
                <a:gd name="T15" fmla="*/ 0 h 31"/>
                <a:gd name="T16" fmla="*/ 0 w 60"/>
                <a:gd name="T17" fmla="*/ 1 h 31"/>
                <a:gd name="T18" fmla="*/ 0 w 60"/>
                <a:gd name="T19" fmla="*/ 1 h 31"/>
                <a:gd name="T20" fmla="*/ 0 w 60"/>
                <a:gd name="T21" fmla="*/ 1 h 31"/>
                <a:gd name="T22" fmla="*/ 0 w 60"/>
                <a:gd name="T23" fmla="*/ 2 h 31"/>
                <a:gd name="T24" fmla="*/ 0 w 60"/>
                <a:gd name="T25" fmla="*/ 2 h 31"/>
                <a:gd name="T26" fmla="*/ 1 w 60"/>
                <a:gd name="T27" fmla="*/ 2 h 31"/>
                <a:gd name="T28" fmla="*/ 1 w 60"/>
                <a:gd name="T29" fmla="*/ 3 h 31"/>
                <a:gd name="T30" fmla="*/ 1 w 60"/>
                <a:gd name="T31" fmla="*/ 3 h 31"/>
                <a:gd name="T32" fmla="*/ 2 w 60"/>
                <a:gd name="T33" fmla="*/ 3 h 31"/>
                <a:gd name="T34" fmla="*/ 2 w 60"/>
                <a:gd name="T35" fmla="*/ 3 h 31"/>
                <a:gd name="T36" fmla="*/ 3 w 60"/>
                <a:gd name="T37" fmla="*/ 3 h 31"/>
                <a:gd name="T38" fmla="*/ 4 w 60"/>
                <a:gd name="T39" fmla="*/ 3 h 31"/>
                <a:gd name="T40" fmla="*/ 4 w 60"/>
                <a:gd name="T41" fmla="*/ 3 h 31"/>
                <a:gd name="T42" fmla="*/ 5 w 60"/>
                <a:gd name="T43" fmla="*/ 3 h 31"/>
                <a:gd name="T44" fmla="*/ 5 w 60"/>
                <a:gd name="T45" fmla="*/ 2 h 31"/>
                <a:gd name="T46" fmla="*/ 6 w 60"/>
                <a:gd name="T47" fmla="*/ 1 h 31"/>
                <a:gd name="T48" fmla="*/ 7 w 60"/>
                <a:gd name="T49" fmla="*/ 1 h 31"/>
                <a:gd name="T50" fmla="*/ 7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5 h 62"/>
                <a:gd name="T2" fmla="*/ 0 w 80"/>
                <a:gd name="T3" fmla="*/ 5 h 62"/>
                <a:gd name="T4" fmla="*/ 0 w 80"/>
                <a:gd name="T5" fmla="*/ 5 h 62"/>
                <a:gd name="T6" fmla="*/ 0 w 80"/>
                <a:gd name="T7" fmla="*/ 5 h 62"/>
                <a:gd name="T8" fmla="*/ 0 w 80"/>
                <a:gd name="T9" fmla="*/ 5 h 62"/>
                <a:gd name="T10" fmla="*/ 1 w 80"/>
                <a:gd name="T11" fmla="*/ 6 h 62"/>
                <a:gd name="T12" fmla="*/ 2 w 80"/>
                <a:gd name="T13" fmla="*/ 6 h 62"/>
                <a:gd name="T14" fmla="*/ 3 w 80"/>
                <a:gd name="T15" fmla="*/ 6 h 62"/>
                <a:gd name="T16" fmla="*/ 4 w 80"/>
                <a:gd name="T17" fmla="*/ 6 h 62"/>
                <a:gd name="T18" fmla="*/ 5 w 80"/>
                <a:gd name="T19" fmla="*/ 6 h 62"/>
                <a:gd name="T20" fmla="*/ 5 w 80"/>
                <a:gd name="T21" fmla="*/ 6 h 62"/>
                <a:gd name="T22" fmla="*/ 6 w 80"/>
                <a:gd name="T23" fmla="*/ 6 h 62"/>
                <a:gd name="T24" fmla="*/ 6 w 80"/>
                <a:gd name="T25" fmla="*/ 5 h 62"/>
                <a:gd name="T26" fmla="*/ 7 w 80"/>
                <a:gd name="T27" fmla="*/ 5 h 62"/>
                <a:gd name="T28" fmla="*/ 7 w 80"/>
                <a:gd name="T29" fmla="*/ 4 h 62"/>
                <a:gd name="T30" fmla="*/ 8 w 80"/>
                <a:gd name="T31" fmla="*/ 3 h 62"/>
                <a:gd name="T32" fmla="*/ 8 w 80"/>
                <a:gd name="T33" fmla="*/ 2 h 62"/>
                <a:gd name="T34" fmla="*/ 8 w 80"/>
                <a:gd name="T35" fmla="*/ 1 h 62"/>
                <a:gd name="T36" fmla="*/ 8 w 80"/>
                <a:gd name="T37" fmla="*/ 0 h 62"/>
                <a:gd name="T38" fmla="*/ 7 w 80"/>
                <a:gd name="T39" fmla="*/ 0 h 62"/>
                <a:gd name="T40" fmla="*/ 6 w 80"/>
                <a:gd name="T41" fmla="*/ 0 h 62"/>
                <a:gd name="T42" fmla="*/ 5 w 80"/>
                <a:gd name="T43" fmla="*/ 1 h 62"/>
                <a:gd name="T44" fmla="*/ 4 w 80"/>
                <a:gd name="T45" fmla="*/ 1 h 62"/>
                <a:gd name="T46" fmla="*/ 2 w 80"/>
                <a:gd name="T47" fmla="*/ 2 h 62"/>
                <a:gd name="T48" fmla="*/ 1 w 80"/>
                <a:gd name="T49" fmla="*/ 3 h 62"/>
                <a:gd name="T50" fmla="*/ 1 w 80"/>
                <a:gd name="T51" fmla="*/ 3 h 62"/>
                <a:gd name="T52" fmla="*/ 0 w 80"/>
                <a:gd name="T53" fmla="*/ 4 h 62"/>
                <a:gd name="T54" fmla="*/ 0 w 80"/>
                <a:gd name="T55" fmla="*/ 4 h 62"/>
                <a:gd name="T56" fmla="*/ 0 w 80"/>
                <a:gd name="T57" fmla="*/ 5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 w 106"/>
                <a:gd name="T1" fmla="*/ 1 h 49"/>
                <a:gd name="T2" fmla="*/ 7 w 106"/>
                <a:gd name="T3" fmla="*/ 1 h 49"/>
                <a:gd name="T4" fmla="*/ 7 w 106"/>
                <a:gd name="T5" fmla="*/ 1 h 49"/>
                <a:gd name="T6" fmla="*/ 6 w 106"/>
                <a:gd name="T7" fmla="*/ 1 h 49"/>
                <a:gd name="T8" fmla="*/ 5 w 106"/>
                <a:gd name="T9" fmla="*/ 1 h 49"/>
                <a:gd name="T10" fmla="*/ 5 w 106"/>
                <a:gd name="T11" fmla="*/ 0 h 49"/>
                <a:gd name="T12" fmla="*/ 4 w 106"/>
                <a:gd name="T13" fmla="*/ 0 h 49"/>
                <a:gd name="T14" fmla="*/ 3 w 106"/>
                <a:gd name="T15" fmla="*/ 0 h 49"/>
                <a:gd name="T16" fmla="*/ 2 w 106"/>
                <a:gd name="T17" fmla="*/ 0 h 49"/>
                <a:gd name="T18" fmla="*/ 2 w 106"/>
                <a:gd name="T19" fmla="*/ 0 h 49"/>
                <a:gd name="T20" fmla="*/ 0 w 106"/>
                <a:gd name="T21" fmla="*/ 0 h 49"/>
                <a:gd name="T22" fmla="*/ 1 w 106"/>
                <a:gd name="T23" fmla="*/ 1 h 49"/>
                <a:gd name="T24" fmla="*/ 2 w 106"/>
                <a:gd name="T25" fmla="*/ 2 h 49"/>
                <a:gd name="T26" fmla="*/ 2 w 106"/>
                <a:gd name="T27" fmla="*/ 3 h 49"/>
                <a:gd name="T28" fmla="*/ 3 w 106"/>
                <a:gd name="T29" fmla="*/ 4 h 49"/>
                <a:gd name="T30" fmla="*/ 4 w 106"/>
                <a:gd name="T31" fmla="*/ 5 h 49"/>
                <a:gd name="T32" fmla="*/ 5 w 106"/>
                <a:gd name="T33" fmla="*/ 5 h 49"/>
                <a:gd name="T34" fmla="*/ 6 w 106"/>
                <a:gd name="T35" fmla="*/ 5 h 49"/>
                <a:gd name="T36" fmla="*/ 7 w 106"/>
                <a:gd name="T37" fmla="*/ 5 h 49"/>
                <a:gd name="T38" fmla="*/ 8 w 106"/>
                <a:gd name="T39" fmla="*/ 5 h 49"/>
                <a:gd name="T40" fmla="*/ 8 w 106"/>
                <a:gd name="T41" fmla="*/ 5 h 49"/>
                <a:gd name="T42" fmla="*/ 9 w 106"/>
                <a:gd name="T43" fmla="*/ 4 h 49"/>
                <a:gd name="T44" fmla="*/ 10 w 106"/>
                <a:gd name="T45" fmla="*/ 3 h 49"/>
                <a:gd name="T46" fmla="*/ 10 w 106"/>
                <a:gd name="T47" fmla="*/ 3 h 49"/>
                <a:gd name="T48" fmla="*/ 10 w 106"/>
                <a:gd name="T49" fmla="*/ 3 h 49"/>
                <a:gd name="T50" fmla="*/ 9 w 106"/>
                <a:gd name="T51" fmla="*/ 3 h 49"/>
                <a:gd name="T52" fmla="*/ 9 w 106"/>
                <a:gd name="T53" fmla="*/ 2 h 49"/>
                <a:gd name="T54" fmla="*/ 8 w 106"/>
                <a:gd name="T55" fmla="*/ 2 h 49"/>
                <a:gd name="T56" fmla="*/ 8 w 106"/>
                <a:gd name="T57" fmla="*/ 2 h 49"/>
                <a:gd name="T58" fmla="*/ 8 w 106"/>
                <a:gd name="T59" fmla="*/ 2 h 49"/>
                <a:gd name="T60" fmla="*/ 8 w 106"/>
                <a:gd name="T61" fmla="*/ 1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2 h 22"/>
                <a:gd name="T2" fmla="*/ 1 w 47"/>
                <a:gd name="T3" fmla="*/ 2 h 22"/>
                <a:gd name="T4" fmla="*/ 1 w 47"/>
                <a:gd name="T5" fmla="*/ 2 h 22"/>
                <a:gd name="T6" fmla="*/ 2 w 47"/>
                <a:gd name="T7" fmla="*/ 2 h 22"/>
                <a:gd name="T8" fmla="*/ 3 w 47"/>
                <a:gd name="T9" fmla="*/ 2 h 22"/>
                <a:gd name="T10" fmla="*/ 4 w 47"/>
                <a:gd name="T11" fmla="*/ 2 h 22"/>
                <a:gd name="T12" fmla="*/ 4 w 47"/>
                <a:gd name="T13" fmla="*/ 2 h 22"/>
                <a:gd name="T14" fmla="*/ 4 w 47"/>
                <a:gd name="T15" fmla="*/ 1 h 22"/>
                <a:gd name="T16" fmla="*/ 4 w 47"/>
                <a:gd name="T17" fmla="*/ 1 h 22"/>
                <a:gd name="T18" fmla="*/ 4 w 47"/>
                <a:gd name="T19" fmla="*/ 1 h 22"/>
                <a:gd name="T20" fmla="*/ 5 w 47"/>
                <a:gd name="T21" fmla="*/ 0 h 22"/>
                <a:gd name="T22" fmla="*/ 0 w 47"/>
                <a:gd name="T23" fmla="*/ 2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 w 53"/>
                <a:gd name="T1" fmla="*/ 0 h 32"/>
                <a:gd name="T2" fmla="*/ 4 w 53"/>
                <a:gd name="T3" fmla="*/ 1 h 32"/>
                <a:gd name="T4" fmla="*/ 2 w 53"/>
                <a:gd name="T5" fmla="*/ 2 h 32"/>
                <a:gd name="T6" fmla="*/ 1 w 53"/>
                <a:gd name="T7" fmla="*/ 3 h 32"/>
                <a:gd name="T8" fmla="*/ 0 w 53"/>
                <a:gd name="T9" fmla="*/ 4 h 32"/>
                <a:gd name="T10" fmla="*/ 1 w 53"/>
                <a:gd name="T11" fmla="*/ 4 h 32"/>
                <a:gd name="T12" fmla="*/ 3 w 53"/>
                <a:gd name="T13" fmla="*/ 4 h 32"/>
                <a:gd name="T14" fmla="*/ 4 w 53"/>
                <a:gd name="T15" fmla="*/ 4 h 32"/>
                <a:gd name="T16" fmla="*/ 5 w 53"/>
                <a:gd name="T17" fmla="*/ 4 h 32"/>
                <a:gd name="T18" fmla="*/ 5 w 53"/>
                <a:gd name="T19" fmla="*/ 3 h 32"/>
                <a:gd name="T20" fmla="*/ 5 w 53"/>
                <a:gd name="T21" fmla="*/ 2 h 32"/>
                <a:gd name="T22" fmla="*/ 5 w 53"/>
                <a:gd name="T23" fmla="*/ 1 h 32"/>
                <a:gd name="T24" fmla="*/ 5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 w 46"/>
                <a:gd name="T1" fmla="*/ 0 h 34"/>
                <a:gd name="T2" fmla="*/ 0 w 46"/>
                <a:gd name="T3" fmla="*/ 2 h 34"/>
                <a:gd name="T4" fmla="*/ 0 w 46"/>
                <a:gd name="T5" fmla="*/ 4 h 34"/>
                <a:gd name="T6" fmla="*/ 2 w 46"/>
                <a:gd name="T7" fmla="*/ 4 h 34"/>
                <a:gd name="T8" fmla="*/ 3 w 46"/>
                <a:gd name="T9" fmla="*/ 4 h 34"/>
                <a:gd name="T10" fmla="*/ 3 w 46"/>
                <a:gd name="T11" fmla="*/ 4 h 34"/>
                <a:gd name="T12" fmla="*/ 4 w 46"/>
                <a:gd name="T13" fmla="*/ 3 h 34"/>
                <a:gd name="T14" fmla="*/ 4 w 46"/>
                <a:gd name="T15" fmla="*/ 2 h 34"/>
                <a:gd name="T16" fmla="*/ 4 w 46"/>
                <a:gd name="T17" fmla="*/ 2 h 34"/>
                <a:gd name="T18" fmla="*/ 4 w 46"/>
                <a:gd name="T19" fmla="*/ 2 h 34"/>
                <a:gd name="T20" fmla="*/ 4 w 46"/>
                <a:gd name="T21" fmla="*/ 1 h 34"/>
                <a:gd name="T22" fmla="*/ 4 w 46"/>
                <a:gd name="T23" fmla="*/ 0 h 34"/>
                <a:gd name="T24" fmla="*/ 4 w 46"/>
                <a:gd name="T25" fmla="*/ 0 h 34"/>
                <a:gd name="T26" fmla="*/ 4 w 46"/>
                <a:gd name="T27" fmla="*/ 0 h 34"/>
                <a:gd name="T28" fmla="*/ 4 w 46"/>
                <a:gd name="T29" fmla="*/ 0 h 34"/>
                <a:gd name="T30" fmla="*/ 4 w 46"/>
                <a:gd name="T31" fmla="*/ 0 h 34"/>
                <a:gd name="T32" fmla="*/ 3 w 46"/>
                <a:gd name="T33" fmla="*/ 0 h 34"/>
                <a:gd name="T34" fmla="*/ 2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3 h 25"/>
                <a:gd name="T2" fmla="*/ 2 w 48"/>
                <a:gd name="T3" fmla="*/ 3 h 25"/>
                <a:gd name="T4" fmla="*/ 3 w 48"/>
                <a:gd name="T5" fmla="*/ 3 h 25"/>
                <a:gd name="T6" fmla="*/ 3 w 48"/>
                <a:gd name="T7" fmla="*/ 3 h 25"/>
                <a:gd name="T8" fmla="*/ 4 w 48"/>
                <a:gd name="T9" fmla="*/ 2 h 25"/>
                <a:gd name="T10" fmla="*/ 4 w 48"/>
                <a:gd name="T11" fmla="*/ 2 h 25"/>
                <a:gd name="T12" fmla="*/ 4 w 48"/>
                <a:gd name="T13" fmla="*/ 2 h 25"/>
                <a:gd name="T14" fmla="*/ 5 w 48"/>
                <a:gd name="T15" fmla="*/ 1 h 25"/>
                <a:gd name="T16" fmla="*/ 5 w 48"/>
                <a:gd name="T17" fmla="*/ 0 h 25"/>
                <a:gd name="T18" fmla="*/ 4 w 48"/>
                <a:gd name="T19" fmla="*/ 0 h 25"/>
                <a:gd name="T20" fmla="*/ 4 w 48"/>
                <a:gd name="T21" fmla="*/ 0 h 25"/>
                <a:gd name="T22" fmla="*/ 3 w 48"/>
                <a:gd name="T23" fmla="*/ 1 h 25"/>
                <a:gd name="T24" fmla="*/ 2 w 48"/>
                <a:gd name="T25" fmla="*/ 1 h 25"/>
                <a:gd name="T26" fmla="*/ 1 w 48"/>
                <a:gd name="T27" fmla="*/ 2 h 25"/>
                <a:gd name="T28" fmla="*/ 0 w 48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 h 37"/>
                <a:gd name="T4" fmla="*/ 1 w 30"/>
                <a:gd name="T5" fmla="*/ 3 h 37"/>
                <a:gd name="T6" fmla="*/ 1 w 30"/>
                <a:gd name="T7" fmla="*/ 3 h 37"/>
                <a:gd name="T8" fmla="*/ 2 w 30"/>
                <a:gd name="T9" fmla="*/ 3 h 37"/>
                <a:gd name="T10" fmla="*/ 2 w 30"/>
                <a:gd name="T11" fmla="*/ 3 h 37"/>
                <a:gd name="T12" fmla="*/ 2 w 30"/>
                <a:gd name="T13" fmla="*/ 3 h 37"/>
                <a:gd name="T14" fmla="*/ 2 w 30"/>
                <a:gd name="T15" fmla="*/ 2 h 37"/>
                <a:gd name="T16" fmla="*/ 2 w 30"/>
                <a:gd name="T17" fmla="*/ 2 h 37"/>
                <a:gd name="T18" fmla="*/ 2 w 30"/>
                <a:gd name="T19" fmla="*/ 1 h 37"/>
                <a:gd name="T20" fmla="*/ 2 w 30"/>
                <a:gd name="T21" fmla="*/ 1 h 37"/>
                <a:gd name="T22" fmla="*/ 2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4 w 113"/>
                <a:gd name="T1" fmla="*/ 0 h 46"/>
                <a:gd name="T2" fmla="*/ 2 w 113"/>
                <a:gd name="T3" fmla="*/ 0 h 46"/>
                <a:gd name="T4" fmla="*/ 1 w 113"/>
                <a:gd name="T5" fmla="*/ 1 h 46"/>
                <a:gd name="T6" fmla="*/ 1 w 113"/>
                <a:gd name="T7" fmla="*/ 1 h 46"/>
                <a:gd name="T8" fmla="*/ 0 w 113"/>
                <a:gd name="T9" fmla="*/ 1 h 46"/>
                <a:gd name="T10" fmla="*/ 0 w 113"/>
                <a:gd name="T11" fmla="*/ 2 h 46"/>
                <a:gd name="T12" fmla="*/ 0 w 113"/>
                <a:gd name="T13" fmla="*/ 2 h 46"/>
                <a:gd name="T14" fmla="*/ 1 w 113"/>
                <a:gd name="T15" fmla="*/ 3 h 46"/>
                <a:gd name="T16" fmla="*/ 1 w 113"/>
                <a:gd name="T17" fmla="*/ 4 h 46"/>
                <a:gd name="T18" fmla="*/ 2 w 113"/>
                <a:gd name="T19" fmla="*/ 5 h 46"/>
                <a:gd name="T20" fmla="*/ 2 w 113"/>
                <a:gd name="T21" fmla="*/ 5 h 46"/>
                <a:gd name="T22" fmla="*/ 3 w 113"/>
                <a:gd name="T23" fmla="*/ 5 h 46"/>
                <a:gd name="T24" fmla="*/ 3 w 113"/>
                <a:gd name="T25" fmla="*/ 6 h 46"/>
                <a:gd name="T26" fmla="*/ 4 w 113"/>
                <a:gd name="T27" fmla="*/ 6 h 46"/>
                <a:gd name="T28" fmla="*/ 4 w 113"/>
                <a:gd name="T29" fmla="*/ 6 h 46"/>
                <a:gd name="T30" fmla="*/ 6 w 113"/>
                <a:gd name="T31" fmla="*/ 6 h 46"/>
                <a:gd name="T32" fmla="*/ 7 w 113"/>
                <a:gd name="T33" fmla="*/ 5 h 46"/>
                <a:gd name="T34" fmla="*/ 8 w 113"/>
                <a:gd name="T35" fmla="*/ 5 h 46"/>
                <a:gd name="T36" fmla="*/ 8 w 113"/>
                <a:gd name="T37" fmla="*/ 5 h 46"/>
                <a:gd name="T38" fmla="*/ 9 w 113"/>
                <a:gd name="T39" fmla="*/ 5 h 46"/>
                <a:gd name="T40" fmla="*/ 9 w 113"/>
                <a:gd name="T41" fmla="*/ 4 h 46"/>
                <a:gd name="T42" fmla="*/ 10 w 113"/>
                <a:gd name="T43" fmla="*/ 3 h 46"/>
                <a:gd name="T44" fmla="*/ 11 w 113"/>
                <a:gd name="T45" fmla="*/ 2 h 46"/>
                <a:gd name="T46" fmla="*/ 11 w 113"/>
                <a:gd name="T47" fmla="*/ 1 h 46"/>
                <a:gd name="T48" fmla="*/ 11 w 113"/>
                <a:gd name="T49" fmla="*/ 0 h 46"/>
                <a:gd name="T50" fmla="*/ 10 w 113"/>
                <a:gd name="T51" fmla="*/ 0 h 46"/>
                <a:gd name="T52" fmla="*/ 9 w 113"/>
                <a:gd name="T53" fmla="*/ 0 h 46"/>
                <a:gd name="T54" fmla="*/ 8 w 113"/>
                <a:gd name="T55" fmla="*/ 0 h 46"/>
                <a:gd name="T56" fmla="*/ 7 w 113"/>
                <a:gd name="T57" fmla="*/ 0 h 46"/>
                <a:gd name="T58" fmla="*/ 5 w 113"/>
                <a:gd name="T59" fmla="*/ 0 h 46"/>
                <a:gd name="T60" fmla="*/ 4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9 h 82"/>
                <a:gd name="T2" fmla="*/ 0 w 153"/>
                <a:gd name="T3" fmla="*/ 10 h 82"/>
                <a:gd name="T4" fmla="*/ 1 w 153"/>
                <a:gd name="T5" fmla="*/ 10 h 82"/>
                <a:gd name="T6" fmla="*/ 1 w 153"/>
                <a:gd name="T7" fmla="*/ 10 h 82"/>
                <a:gd name="T8" fmla="*/ 1 w 153"/>
                <a:gd name="T9" fmla="*/ 10 h 82"/>
                <a:gd name="T10" fmla="*/ 2 w 153"/>
                <a:gd name="T11" fmla="*/ 9 h 82"/>
                <a:gd name="T12" fmla="*/ 4 w 153"/>
                <a:gd name="T13" fmla="*/ 9 h 82"/>
                <a:gd name="T14" fmla="*/ 4 w 153"/>
                <a:gd name="T15" fmla="*/ 9 h 82"/>
                <a:gd name="T16" fmla="*/ 5 w 153"/>
                <a:gd name="T17" fmla="*/ 9 h 82"/>
                <a:gd name="T18" fmla="*/ 6 w 153"/>
                <a:gd name="T19" fmla="*/ 9 h 82"/>
                <a:gd name="T20" fmla="*/ 7 w 153"/>
                <a:gd name="T21" fmla="*/ 9 h 82"/>
                <a:gd name="T22" fmla="*/ 9 w 153"/>
                <a:gd name="T23" fmla="*/ 8 h 82"/>
                <a:gd name="T24" fmla="*/ 11 w 153"/>
                <a:gd name="T25" fmla="*/ 7 h 82"/>
                <a:gd name="T26" fmla="*/ 12 w 153"/>
                <a:gd name="T27" fmla="*/ 6 h 82"/>
                <a:gd name="T28" fmla="*/ 12 w 153"/>
                <a:gd name="T29" fmla="*/ 6 h 82"/>
                <a:gd name="T30" fmla="*/ 13 w 153"/>
                <a:gd name="T31" fmla="*/ 5 h 82"/>
                <a:gd name="T32" fmla="*/ 14 w 153"/>
                <a:gd name="T33" fmla="*/ 4 h 82"/>
                <a:gd name="T34" fmla="*/ 14 w 153"/>
                <a:gd name="T35" fmla="*/ 4 h 82"/>
                <a:gd name="T36" fmla="*/ 15 w 153"/>
                <a:gd name="T37" fmla="*/ 3 h 82"/>
                <a:gd name="T38" fmla="*/ 15 w 153"/>
                <a:gd name="T39" fmla="*/ 2 h 82"/>
                <a:gd name="T40" fmla="*/ 16 w 153"/>
                <a:gd name="T41" fmla="*/ 1 h 82"/>
                <a:gd name="T42" fmla="*/ 14 w 153"/>
                <a:gd name="T43" fmla="*/ 1 h 82"/>
                <a:gd name="T44" fmla="*/ 12 w 153"/>
                <a:gd name="T45" fmla="*/ 0 h 82"/>
                <a:gd name="T46" fmla="*/ 10 w 153"/>
                <a:gd name="T47" fmla="*/ 0 h 82"/>
                <a:gd name="T48" fmla="*/ 8 w 153"/>
                <a:gd name="T49" fmla="*/ 0 h 82"/>
                <a:gd name="T50" fmla="*/ 7 w 153"/>
                <a:gd name="T51" fmla="*/ 0 h 82"/>
                <a:gd name="T52" fmla="*/ 6 w 153"/>
                <a:gd name="T53" fmla="*/ 0 h 82"/>
                <a:gd name="T54" fmla="*/ 5 w 153"/>
                <a:gd name="T55" fmla="*/ 0 h 82"/>
                <a:gd name="T56" fmla="*/ 4 w 153"/>
                <a:gd name="T57" fmla="*/ 0 h 82"/>
                <a:gd name="T58" fmla="*/ 4 w 153"/>
                <a:gd name="T59" fmla="*/ 1 h 82"/>
                <a:gd name="T60" fmla="*/ 4 w 153"/>
                <a:gd name="T61" fmla="*/ 1 h 82"/>
                <a:gd name="T62" fmla="*/ 3 w 153"/>
                <a:gd name="T63" fmla="*/ 2 h 82"/>
                <a:gd name="T64" fmla="*/ 3 w 153"/>
                <a:gd name="T65" fmla="*/ 2 h 82"/>
                <a:gd name="T66" fmla="*/ 3 w 153"/>
                <a:gd name="T67" fmla="*/ 3 h 82"/>
                <a:gd name="T68" fmla="*/ 4 w 153"/>
                <a:gd name="T69" fmla="*/ 3 h 82"/>
                <a:gd name="T70" fmla="*/ 4 w 153"/>
                <a:gd name="T71" fmla="*/ 4 h 82"/>
                <a:gd name="T72" fmla="*/ 4 w 153"/>
                <a:gd name="T73" fmla="*/ 4 h 82"/>
                <a:gd name="T74" fmla="*/ 4 w 153"/>
                <a:gd name="T75" fmla="*/ 4 h 82"/>
                <a:gd name="T76" fmla="*/ 5 w 153"/>
                <a:gd name="T77" fmla="*/ 4 h 82"/>
                <a:gd name="T78" fmla="*/ 4 w 153"/>
                <a:gd name="T79" fmla="*/ 5 h 82"/>
                <a:gd name="T80" fmla="*/ 4 w 153"/>
                <a:gd name="T81" fmla="*/ 5 h 82"/>
                <a:gd name="T82" fmla="*/ 3 w 153"/>
                <a:gd name="T83" fmla="*/ 6 h 82"/>
                <a:gd name="T84" fmla="*/ 2 w 153"/>
                <a:gd name="T85" fmla="*/ 6 h 82"/>
                <a:gd name="T86" fmla="*/ 2 w 153"/>
                <a:gd name="T87" fmla="*/ 8 h 82"/>
                <a:gd name="T88" fmla="*/ 1 w 153"/>
                <a:gd name="T89" fmla="*/ 8 h 82"/>
                <a:gd name="T90" fmla="*/ 1 w 153"/>
                <a:gd name="T91" fmla="*/ 9 h 82"/>
                <a:gd name="T92" fmla="*/ 0 w 153"/>
                <a:gd name="T93" fmla="*/ 9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4 h 50"/>
                <a:gd name="T2" fmla="*/ 1 w 86"/>
                <a:gd name="T3" fmla="*/ 5 h 50"/>
                <a:gd name="T4" fmla="*/ 1 w 86"/>
                <a:gd name="T5" fmla="*/ 5 h 50"/>
                <a:gd name="T6" fmla="*/ 2 w 86"/>
                <a:gd name="T7" fmla="*/ 5 h 50"/>
                <a:gd name="T8" fmla="*/ 3 w 86"/>
                <a:gd name="T9" fmla="*/ 5 h 50"/>
                <a:gd name="T10" fmla="*/ 4 w 86"/>
                <a:gd name="T11" fmla="*/ 6 h 50"/>
                <a:gd name="T12" fmla="*/ 5 w 86"/>
                <a:gd name="T13" fmla="*/ 6 h 50"/>
                <a:gd name="T14" fmla="*/ 7 w 86"/>
                <a:gd name="T15" fmla="*/ 6 h 50"/>
                <a:gd name="T16" fmla="*/ 8 w 86"/>
                <a:gd name="T17" fmla="*/ 5 h 50"/>
                <a:gd name="T18" fmla="*/ 8 w 86"/>
                <a:gd name="T19" fmla="*/ 5 h 50"/>
                <a:gd name="T20" fmla="*/ 9 w 86"/>
                <a:gd name="T21" fmla="*/ 5 h 50"/>
                <a:gd name="T22" fmla="*/ 9 w 86"/>
                <a:gd name="T23" fmla="*/ 5 h 50"/>
                <a:gd name="T24" fmla="*/ 9 w 86"/>
                <a:gd name="T25" fmla="*/ 4 h 50"/>
                <a:gd name="T26" fmla="*/ 10 w 86"/>
                <a:gd name="T27" fmla="*/ 4 h 50"/>
                <a:gd name="T28" fmla="*/ 10 w 86"/>
                <a:gd name="T29" fmla="*/ 3 h 50"/>
                <a:gd name="T30" fmla="*/ 10 w 86"/>
                <a:gd name="T31" fmla="*/ 2 h 50"/>
                <a:gd name="T32" fmla="*/ 9 w 86"/>
                <a:gd name="T33" fmla="*/ 1 h 50"/>
                <a:gd name="T34" fmla="*/ 9 w 86"/>
                <a:gd name="T35" fmla="*/ 1 h 50"/>
                <a:gd name="T36" fmla="*/ 9 w 86"/>
                <a:gd name="T37" fmla="*/ 1 h 50"/>
                <a:gd name="T38" fmla="*/ 9 w 86"/>
                <a:gd name="T39" fmla="*/ 0 h 50"/>
                <a:gd name="T40" fmla="*/ 8 w 86"/>
                <a:gd name="T41" fmla="*/ 0 h 50"/>
                <a:gd name="T42" fmla="*/ 0 w 86"/>
                <a:gd name="T43" fmla="*/ 4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2 w 172"/>
                <a:gd name="T1" fmla="*/ 7 h 74"/>
                <a:gd name="T2" fmla="*/ 11 w 172"/>
                <a:gd name="T3" fmla="*/ 7 h 74"/>
                <a:gd name="T4" fmla="*/ 10 w 172"/>
                <a:gd name="T5" fmla="*/ 7 h 74"/>
                <a:gd name="T6" fmla="*/ 9 w 172"/>
                <a:gd name="T7" fmla="*/ 7 h 74"/>
                <a:gd name="T8" fmla="*/ 8 w 172"/>
                <a:gd name="T9" fmla="*/ 7 h 74"/>
                <a:gd name="T10" fmla="*/ 6 w 172"/>
                <a:gd name="T11" fmla="*/ 8 h 74"/>
                <a:gd name="T12" fmla="*/ 4 w 172"/>
                <a:gd name="T13" fmla="*/ 8 h 74"/>
                <a:gd name="T14" fmla="*/ 4 w 172"/>
                <a:gd name="T15" fmla="*/ 7 h 74"/>
                <a:gd name="T16" fmla="*/ 4 w 172"/>
                <a:gd name="T17" fmla="*/ 6 h 74"/>
                <a:gd name="T18" fmla="*/ 3 w 172"/>
                <a:gd name="T19" fmla="*/ 6 h 74"/>
                <a:gd name="T20" fmla="*/ 2 w 172"/>
                <a:gd name="T21" fmla="*/ 5 h 74"/>
                <a:gd name="T22" fmla="*/ 2 w 172"/>
                <a:gd name="T23" fmla="*/ 5 h 74"/>
                <a:gd name="T24" fmla="*/ 1 w 172"/>
                <a:gd name="T25" fmla="*/ 5 h 74"/>
                <a:gd name="T26" fmla="*/ 1 w 172"/>
                <a:gd name="T27" fmla="*/ 5 h 74"/>
                <a:gd name="T28" fmla="*/ 0 w 172"/>
                <a:gd name="T29" fmla="*/ 4 h 74"/>
                <a:gd name="T30" fmla="*/ 0 w 172"/>
                <a:gd name="T31" fmla="*/ 4 h 74"/>
                <a:gd name="T32" fmla="*/ 0 w 172"/>
                <a:gd name="T33" fmla="*/ 3 h 74"/>
                <a:gd name="T34" fmla="*/ 0 w 172"/>
                <a:gd name="T35" fmla="*/ 3 h 74"/>
                <a:gd name="T36" fmla="*/ 0 w 172"/>
                <a:gd name="T37" fmla="*/ 2 h 74"/>
                <a:gd name="T38" fmla="*/ 1 w 172"/>
                <a:gd name="T39" fmla="*/ 2 h 74"/>
                <a:gd name="T40" fmla="*/ 1 w 172"/>
                <a:gd name="T41" fmla="*/ 2 h 74"/>
                <a:gd name="T42" fmla="*/ 1 w 172"/>
                <a:gd name="T43" fmla="*/ 1 h 74"/>
                <a:gd name="T44" fmla="*/ 2 w 172"/>
                <a:gd name="T45" fmla="*/ 1 h 74"/>
                <a:gd name="T46" fmla="*/ 3 w 172"/>
                <a:gd name="T47" fmla="*/ 1 h 74"/>
                <a:gd name="T48" fmla="*/ 3 w 172"/>
                <a:gd name="T49" fmla="*/ 0 h 74"/>
                <a:gd name="T50" fmla="*/ 4 w 172"/>
                <a:gd name="T51" fmla="*/ 0 h 74"/>
                <a:gd name="T52" fmla="*/ 6 w 172"/>
                <a:gd name="T53" fmla="*/ 0 h 74"/>
                <a:gd name="T54" fmla="*/ 7 w 172"/>
                <a:gd name="T55" fmla="*/ 0 h 74"/>
                <a:gd name="T56" fmla="*/ 8 w 172"/>
                <a:gd name="T57" fmla="*/ 0 h 74"/>
                <a:gd name="T58" fmla="*/ 10 w 172"/>
                <a:gd name="T59" fmla="*/ 0 h 74"/>
                <a:gd name="T60" fmla="*/ 11 w 172"/>
                <a:gd name="T61" fmla="*/ 0 h 74"/>
                <a:gd name="T62" fmla="*/ 12 w 172"/>
                <a:gd name="T63" fmla="*/ 1 h 74"/>
                <a:gd name="T64" fmla="*/ 13 w 172"/>
                <a:gd name="T65" fmla="*/ 1 h 74"/>
                <a:gd name="T66" fmla="*/ 14 w 172"/>
                <a:gd name="T67" fmla="*/ 2 h 74"/>
                <a:gd name="T68" fmla="*/ 15 w 172"/>
                <a:gd name="T69" fmla="*/ 2 h 74"/>
                <a:gd name="T70" fmla="*/ 16 w 172"/>
                <a:gd name="T71" fmla="*/ 3 h 74"/>
                <a:gd name="T72" fmla="*/ 18 w 172"/>
                <a:gd name="T73" fmla="*/ 3 h 74"/>
                <a:gd name="T74" fmla="*/ 18 w 172"/>
                <a:gd name="T75" fmla="*/ 5 h 74"/>
                <a:gd name="T76" fmla="*/ 17 w 172"/>
                <a:gd name="T77" fmla="*/ 5 h 74"/>
                <a:gd name="T78" fmla="*/ 17 w 172"/>
                <a:gd name="T79" fmla="*/ 6 h 74"/>
                <a:gd name="T80" fmla="*/ 16 w 172"/>
                <a:gd name="T81" fmla="*/ 6 h 74"/>
                <a:gd name="T82" fmla="*/ 16 w 172"/>
                <a:gd name="T83" fmla="*/ 7 h 74"/>
                <a:gd name="T84" fmla="*/ 16 w 172"/>
                <a:gd name="T85" fmla="*/ 7 h 74"/>
                <a:gd name="T86" fmla="*/ 15 w 172"/>
                <a:gd name="T87" fmla="*/ 7 h 74"/>
                <a:gd name="T88" fmla="*/ 15 w 172"/>
                <a:gd name="T89" fmla="*/ 7 h 74"/>
                <a:gd name="T90" fmla="*/ 14 w 172"/>
                <a:gd name="T91" fmla="*/ 7 h 74"/>
                <a:gd name="T92" fmla="*/ 13 w 172"/>
                <a:gd name="T93" fmla="*/ 7 h 74"/>
                <a:gd name="T94" fmla="*/ 12 w 172"/>
                <a:gd name="T95" fmla="*/ 7 h 74"/>
                <a:gd name="T96" fmla="*/ 12 w 172"/>
                <a:gd name="T97" fmla="*/ 7 h 74"/>
                <a:gd name="T98" fmla="*/ 10 w 172"/>
                <a:gd name="T99" fmla="*/ 6 h 74"/>
                <a:gd name="T100" fmla="*/ 11 w 172"/>
                <a:gd name="T101" fmla="*/ 6 h 74"/>
                <a:gd name="T102" fmla="*/ 12 w 172"/>
                <a:gd name="T103" fmla="*/ 7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3 w 120"/>
                <a:gd name="T1" fmla="*/ 6 h 49"/>
                <a:gd name="T2" fmla="*/ 5 w 120"/>
                <a:gd name="T3" fmla="*/ 6 h 49"/>
                <a:gd name="T4" fmla="*/ 6 w 120"/>
                <a:gd name="T5" fmla="*/ 6 h 49"/>
                <a:gd name="T6" fmla="*/ 8 w 120"/>
                <a:gd name="T7" fmla="*/ 6 h 49"/>
                <a:gd name="T8" fmla="*/ 9 w 120"/>
                <a:gd name="T9" fmla="*/ 5 h 49"/>
                <a:gd name="T10" fmla="*/ 10 w 120"/>
                <a:gd name="T11" fmla="*/ 5 h 49"/>
                <a:gd name="T12" fmla="*/ 10 w 120"/>
                <a:gd name="T13" fmla="*/ 5 h 49"/>
                <a:gd name="T14" fmla="*/ 10 w 120"/>
                <a:gd name="T15" fmla="*/ 4 h 49"/>
                <a:gd name="T16" fmla="*/ 11 w 120"/>
                <a:gd name="T17" fmla="*/ 4 h 49"/>
                <a:gd name="T18" fmla="*/ 11 w 120"/>
                <a:gd name="T19" fmla="*/ 3 h 49"/>
                <a:gd name="T20" fmla="*/ 12 w 120"/>
                <a:gd name="T21" fmla="*/ 1 h 49"/>
                <a:gd name="T22" fmla="*/ 10 w 120"/>
                <a:gd name="T23" fmla="*/ 1 h 49"/>
                <a:gd name="T24" fmla="*/ 9 w 120"/>
                <a:gd name="T25" fmla="*/ 0 h 49"/>
                <a:gd name="T26" fmla="*/ 7 w 120"/>
                <a:gd name="T27" fmla="*/ 0 h 49"/>
                <a:gd name="T28" fmla="*/ 5 w 120"/>
                <a:gd name="T29" fmla="*/ 0 h 49"/>
                <a:gd name="T30" fmla="*/ 3 w 120"/>
                <a:gd name="T31" fmla="*/ 0 h 49"/>
                <a:gd name="T32" fmla="*/ 2 w 120"/>
                <a:gd name="T33" fmla="*/ 0 h 49"/>
                <a:gd name="T34" fmla="*/ 1 w 120"/>
                <a:gd name="T35" fmla="*/ 0 h 49"/>
                <a:gd name="T36" fmla="*/ 0 w 120"/>
                <a:gd name="T37" fmla="*/ 1 h 49"/>
                <a:gd name="T38" fmla="*/ 0 w 120"/>
                <a:gd name="T39" fmla="*/ 3 h 49"/>
                <a:gd name="T40" fmla="*/ 0 w 120"/>
                <a:gd name="T41" fmla="*/ 4 h 49"/>
                <a:gd name="T42" fmla="*/ 1 w 120"/>
                <a:gd name="T43" fmla="*/ 5 h 49"/>
                <a:gd name="T44" fmla="*/ 1 w 120"/>
                <a:gd name="T45" fmla="*/ 5 h 49"/>
                <a:gd name="T46" fmla="*/ 1 w 120"/>
                <a:gd name="T47" fmla="*/ 6 h 49"/>
                <a:gd name="T48" fmla="*/ 2 w 120"/>
                <a:gd name="T49" fmla="*/ 6 h 49"/>
                <a:gd name="T50" fmla="*/ 3 w 120"/>
                <a:gd name="T51" fmla="*/ 6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 w 85"/>
                <a:gd name="T1" fmla="*/ 0 h 61"/>
                <a:gd name="T2" fmla="*/ 2 w 85"/>
                <a:gd name="T3" fmla="*/ 1 h 61"/>
                <a:gd name="T4" fmla="*/ 1 w 85"/>
                <a:gd name="T5" fmla="*/ 1 h 61"/>
                <a:gd name="T6" fmla="*/ 1 w 85"/>
                <a:gd name="T7" fmla="*/ 2 h 61"/>
                <a:gd name="T8" fmla="*/ 0 w 85"/>
                <a:gd name="T9" fmla="*/ 2 h 61"/>
                <a:gd name="T10" fmla="*/ 0 w 85"/>
                <a:gd name="T11" fmla="*/ 2 h 61"/>
                <a:gd name="T12" fmla="*/ 0 w 85"/>
                <a:gd name="T13" fmla="*/ 3 h 61"/>
                <a:gd name="T14" fmla="*/ 0 w 85"/>
                <a:gd name="T15" fmla="*/ 3 h 61"/>
                <a:gd name="T16" fmla="*/ 0 w 85"/>
                <a:gd name="T17" fmla="*/ 4 h 61"/>
                <a:gd name="T18" fmla="*/ 0 w 85"/>
                <a:gd name="T19" fmla="*/ 4 h 61"/>
                <a:gd name="T20" fmla="*/ 1 w 85"/>
                <a:gd name="T21" fmla="*/ 4 h 61"/>
                <a:gd name="T22" fmla="*/ 1 w 85"/>
                <a:gd name="T23" fmla="*/ 5 h 61"/>
                <a:gd name="T24" fmla="*/ 2 w 85"/>
                <a:gd name="T25" fmla="*/ 5 h 61"/>
                <a:gd name="T26" fmla="*/ 2 w 85"/>
                <a:gd name="T27" fmla="*/ 5 h 61"/>
                <a:gd name="T28" fmla="*/ 3 w 85"/>
                <a:gd name="T29" fmla="*/ 6 h 61"/>
                <a:gd name="T30" fmla="*/ 4 w 85"/>
                <a:gd name="T31" fmla="*/ 6 h 61"/>
                <a:gd name="T32" fmla="*/ 5 w 85"/>
                <a:gd name="T33" fmla="*/ 6 h 61"/>
                <a:gd name="T34" fmla="*/ 5 w 85"/>
                <a:gd name="T35" fmla="*/ 6 h 61"/>
                <a:gd name="T36" fmla="*/ 6 w 85"/>
                <a:gd name="T37" fmla="*/ 6 h 61"/>
                <a:gd name="T38" fmla="*/ 6 w 85"/>
                <a:gd name="T39" fmla="*/ 6 h 61"/>
                <a:gd name="T40" fmla="*/ 6 w 85"/>
                <a:gd name="T41" fmla="*/ 6 h 61"/>
                <a:gd name="T42" fmla="*/ 7 w 85"/>
                <a:gd name="T43" fmla="*/ 5 h 61"/>
                <a:gd name="T44" fmla="*/ 7 w 85"/>
                <a:gd name="T45" fmla="*/ 5 h 61"/>
                <a:gd name="T46" fmla="*/ 7 w 85"/>
                <a:gd name="T47" fmla="*/ 4 h 61"/>
                <a:gd name="T48" fmla="*/ 8 w 85"/>
                <a:gd name="T49" fmla="*/ 3 h 61"/>
                <a:gd name="T50" fmla="*/ 8 w 85"/>
                <a:gd name="T51" fmla="*/ 2 h 61"/>
                <a:gd name="T52" fmla="*/ 8 w 85"/>
                <a:gd name="T53" fmla="*/ 2 h 61"/>
                <a:gd name="T54" fmla="*/ 3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1 h 19"/>
                <a:gd name="T2" fmla="*/ 1 w 100"/>
                <a:gd name="T3" fmla="*/ 1 h 19"/>
                <a:gd name="T4" fmla="*/ 1 w 100"/>
                <a:gd name="T5" fmla="*/ 2 h 19"/>
                <a:gd name="T6" fmla="*/ 2 w 100"/>
                <a:gd name="T7" fmla="*/ 2 h 19"/>
                <a:gd name="T8" fmla="*/ 2 w 100"/>
                <a:gd name="T9" fmla="*/ 2 h 19"/>
                <a:gd name="T10" fmla="*/ 10 w 100"/>
                <a:gd name="T11" fmla="*/ 1 h 19"/>
                <a:gd name="T12" fmla="*/ 7 w 100"/>
                <a:gd name="T13" fmla="*/ 0 h 19"/>
                <a:gd name="T14" fmla="*/ 5 w 100"/>
                <a:gd name="T15" fmla="*/ 0 h 19"/>
                <a:gd name="T16" fmla="*/ 3 w 100"/>
                <a:gd name="T17" fmla="*/ 0 h 19"/>
                <a:gd name="T18" fmla="*/ 2 w 100"/>
                <a:gd name="T19" fmla="*/ 0 h 19"/>
                <a:gd name="T20" fmla="*/ 1 w 100"/>
                <a:gd name="T21" fmla="*/ 0 h 19"/>
                <a:gd name="T22" fmla="*/ 0 w 100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3 h 45"/>
                <a:gd name="T2" fmla="*/ 0 w 166"/>
                <a:gd name="T3" fmla="*/ 3 h 45"/>
                <a:gd name="T4" fmla="*/ 0 w 166"/>
                <a:gd name="T5" fmla="*/ 3 h 45"/>
                <a:gd name="T6" fmla="*/ 1 w 166"/>
                <a:gd name="T7" fmla="*/ 4 h 45"/>
                <a:gd name="T8" fmla="*/ 1 w 166"/>
                <a:gd name="T9" fmla="*/ 4 h 45"/>
                <a:gd name="T10" fmla="*/ 3 w 166"/>
                <a:gd name="T11" fmla="*/ 4 h 45"/>
                <a:gd name="T12" fmla="*/ 4 w 166"/>
                <a:gd name="T13" fmla="*/ 5 h 45"/>
                <a:gd name="T14" fmla="*/ 8 w 166"/>
                <a:gd name="T15" fmla="*/ 5 h 45"/>
                <a:gd name="T16" fmla="*/ 9 w 166"/>
                <a:gd name="T17" fmla="*/ 5 h 45"/>
                <a:gd name="T18" fmla="*/ 17 w 166"/>
                <a:gd name="T19" fmla="*/ 3 h 45"/>
                <a:gd name="T20" fmla="*/ 16 w 166"/>
                <a:gd name="T21" fmla="*/ 3 h 45"/>
                <a:gd name="T22" fmla="*/ 14 w 166"/>
                <a:gd name="T23" fmla="*/ 2 h 45"/>
                <a:gd name="T24" fmla="*/ 11 w 166"/>
                <a:gd name="T25" fmla="*/ 1 h 45"/>
                <a:gd name="T26" fmla="*/ 8 w 166"/>
                <a:gd name="T27" fmla="*/ 0 h 45"/>
                <a:gd name="T28" fmla="*/ 7 w 166"/>
                <a:gd name="T29" fmla="*/ 0 h 45"/>
                <a:gd name="T30" fmla="*/ 5 w 166"/>
                <a:gd name="T31" fmla="*/ 0 h 45"/>
                <a:gd name="T32" fmla="*/ 4 w 166"/>
                <a:gd name="T33" fmla="*/ 0 h 45"/>
                <a:gd name="T34" fmla="*/ 3 w 166"/>
                <a:gd name="T35" fmla="*/ 0 h 45"/>
                <a:gd name="T36" fmla="*/ 2 w 166"/>
                <a:gd name="T37" fmla="*/ 0 h 45"/>
                <a:gd name="T38" fmla="*/ 1 w 166"/>
                <a:gd name="T39" fmla="*/ 1 h 45"/>
                <a:gd name="T40" fmla="*/ 1 w 166"/>
                <a:gd name="T41" fmla="*/ 1 h 45"/>
                <a:gd name="T42" fmla="*/ 1 w 166"/>
                <a:gd name="T43" fmla="*/ 1 h 45"/>
                <a:gd name="T44" fmla="*/ 0 w 166"/>
                <a:gd name="T45" fmla="*/ 1 h 45"/>
                <a:gd name="T46" fmla="*/ 0 w 166"/>
                <a:gd name="T47" fmla="*/ 2 h 45"/>
                <a:gd name="T48" fmla="*/ 0 w 166"/>
                <a:gd name="T49" fmla="*/ 2 h 45"/>
                <a:gd name="T50" fmla="*/ 0 w 166"/>
                <a:gd name="T51" fmla="*/ 3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1 h 25"/>
                <a:gd name="T4" fmla="*/ 0 w 33"/>
                <a:gd name="T5" fmla="*/ 2 h 25"/>
                <a:gd name="T6" fmla="*/ 1 w 33"/>
                <a:gd name="T7" fmla="*/ 2 h 25"/>
                <a:gd name="T8" fmla="*/ 1 w 33"/>
                <a:gd name="T9" fmla="*/ 2 h 25"/>
                <a:gd name="T10" fmla="*/ 2 w 33"/>
                <a:gd name="T11" fmla="*/ 3 h 25"/>
                <a:gd name="T12" fmla="*/ 2 w 33"/>
                <a:gd name="T13" fmla="*/ 3 h 25"/>
                <a:gd name="T14" fmla="*/ 3 w 33"/>
                <a:gd name="T15" fmla="*/ 3 h 25"/>
                <a:gd name="T16" fmla="*/ 4 w 33"/>
                <a:gd name="T17" fmla="*/ 3 h 25"/>
                <a:gd name="T18" fmla="*/ 4 w 33"/>
                <a:gd name="T19" fmla="*/ 0 h 25"/>
                <a:gd name="T20" fmla="*/ 3 w 33"/>
                <a:gd name="T21" fmla="*/ 0 h 25"/>
                <a:gd name="T22" fmla="*/ 2 w 33"/>
                <a:gd name="T23" fmla="*/ 0 h 25"/>
                <a:gd name="T24" fmla="*/ 1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 h 62"/>
                <a:gd name="T2" fmla="*/ 1 w 48"/>
                <a:gd name="T3" fmla="*/ 6 h 62"/>
                <a:gd name="T4" fmla="*/ 2 w 48"/>
                <a:gd name="T5" fmla="*/ 5 h 62"/>
                <a:gd name="T6" fmla="*/ 3 w 48"/>
                <a:gd name="T7" fmla="*/ 5 h 62"/>
                <a:gd name="T8" fmla="*/ 4 w 48"/>
                <a:gd name="T9" fmla="*/ 4 h 62"/>
                <a:gd name="T10" fmla="*/ 5 w 48"/>
                <a:gd name="T11" fmla="*/ 3 h 62"/>
                <a:gd name="T12" fmla="*/ 5 w 48"/>
                <a:gd name="T13" fmla="*/ 2 h 62"/>
                <a:gd name="T14" fmla="*/ 5 w 48"/>
                <a:gd name="T15" fmla="*/ 1 h 62"/>
                <a:gd name="T16" fmla="*/ 5 w 48"/>
                <a:gd name="T17" fmla="*/ 0 h 62"/>
                <a:gd name="T18" fmla="*/ 4 w 48"/>
                <a:gd name="T19" fmla="*/ 0 h 62"/>
                <a:gd name="T20" fmla="*/ 4 w 48"/>
                <a:gd name="T21" fmla="*/ 1 h 62"/>
                <a:gd name="T22" fmla="*/ 3 w 48"/>
                <a:gd name="T23" fmla="*/ 1 h 62"/>
                <a:gd name="T24" fmla="*/ 2 w 48"/>
                <a:gd name="T25" fmla="*/ 2 h 62"/>
                <a:gd name="T26" fmla="*/ 1 w 48"/>
                <a:gd name="T27" fmla="*/ 2 h 62"/>
                <a:gd name="T28" fmla="*/ 1 w 48"/>
                <a:gd name="T29" fmla="*/ 3 h 62"/>
                <a:gd name="T30" fmla="*/ 0 w 48"/>
                <a:gd name="T31" fmla="*/ 3 h 62"/>
                <a:gd name="T32" fmla="*/ 0 w 48"/>
                <a:gd name="T33" fmla="*/ 4 h 62"/>
                <a:gd name="T34" fmla="*/ 0 w 48"/>
                <a:gd name="T35" fmla="*/ 4 h 62"/>
                <a:gd name="T36" fmla="*/ 0 w 48"/>
                <a:gd name="T37" fmla="*/ 5 h 62"/>
                <a:gd name="T38" fmla="*/ 0 w 48"/>
                <a:gd name="T39" fmla="*/ 5 h 62"/>
                <a:gd name="T40" fmla="*/ 0 w 48"/>
                <a:gd name="T41" fmla="*/ 6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5 w 113"/>
                <a:gd name="T1" fmla="*/ 0 h 62"/>
                <a:gd name="T2" fmla="*/ 4 w 113"/>
                <a:gd name="T3" fmla="*/ 1 h 62"/>
                <a:gd name="T4" fmla="*/ 2 w 113"/>
                <a:gd name="T5" fmla="*/ 2 h 62"/>
                <a:gd name="T6" fmla="*/ 1 w 113"/>
                <a:gd name="T7" fmla="*/ 3 h 62"/>
                <a:gd name="T8" fmla="*/ 0 w 113"/>
                <a:gd name="T9" fmla="*/ 4 h 62"/>
                <a:gd name="T10" fmla="*/ 2 w 113"/>
                <a:gd name="T11" fmla="*/ 5 h 62"/>
                <a:gd name="T12" fmla="*/ 4 w 113"/>
                <a:gd name="T13" fmla="*/ 5 h 62"/>
                <a:gd name="T14" fmla="*/ 5 w 113"/>
                <a:gd name="T15" fmla="*/ 6 h 62"/>
                <a:gd name="T16" fmla="*/ 6 w 113"/>
                <a:gd name="T17" fmla="*/ 6 h 62"/>
                <a:gd name="T18" fmla="*/ 7 w 113"/>
                <a:gd name="T19" fmla="*/ 6 h 62"/>
                <a:gd name="T20" fmla="*/ 9 w 113"/>
                <a:gd name="T21" fmla="*/ 6 h 62"/>
                <a:gd name="T22" fmla="*/ 10 w 113"/>
                <a:gd name="T23" fmla="*/ 6 h 62"/>
                <a:gd name="T24" fmla="*/ 11 w 113"/>
                <a:gd name="T25" fmla="*/ 6 h 62"/>
                <a:gd name="T26" fmla="*/ 11 w 113"/>
                <a:gd name="T27" fmla="*/ 6 h 62"/>
                <a:gd name="T28" fmla="*/ 11 w 113"/>
                <a:gd name="T29" fmla="*/ 5 h 62"/>
                <a:gd name="T30" fmla="*/ 11 w 113"/>
                <a:gd name="T31" fmla="*/ 5 h 62"/>
                <a:gd name="T32" fmla="*/ 11 w 113"/>
                <a:gd name="T33" fmla="*/ 5 h 62"/>
                <a:gd name="T34" fmla="*/ 9 w 113"/>
                <a:gd name="T35" fmla="*/ 4 h 62"/>
                <a:gd name="T36" fmla="*/ 7 w 113"/>
                <a:gd name="T37" fmla="*/ 3 h 62"/>
                <a:gd name="T38" fmla="*/ 7 w 113"/>
                <a:gd name="T39" fmla="*/ 3 h 62"/>
                <a:gd name="T40" fmla="*/ 6 w 113"/>
                <a:gd name="T41" fmla="*/ 3 h 62"/>
                <a:gd name="T42" fmla="*/ 6 w 113"/>
                <a:gd name="T43" fmla="*/ 2 h 62"/>
                <a:gd name="T44" fmla="*/ 5 w 113"/>
                <a:gd name="T45" fmla="*/ 2 h 62"/>
                <a:gd name="T46" fmla="*/ 5 w 113"/>
                <a:gd name="T47" fmla="*/ 2 h 62"/>
                <a:gd name="T48" fmla="*/ 5 w 113"/>
                <a:gd name="T49" fmla="*/ 1 h 62"/>
                <a:gd name="T50" fmla="*/ 5 w 113"/>
                <a:gd name="T51" fmla="*/ 1 h 62"/>
                <a:gd name="T52" fmla="*/ 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2 w 93"/>
                <a:gd name="T3" fmla="*/ 0 h 50"/>
                <a:gd name="T4" fmla="*/ 3 w 93"/>
                <a:gd name="T5" fmla="*/ 0 h 50"/>
                <a:gd name="T6" fmla="*/ 4 w 93"/>
                <a:gd name="T7" fmla="*/ 0 h 50"/>
                <a:gd name="T8" fmla="*/ 6 w 93"/>
                <a:gd name="T9" fmla="*/ 1 h 50"/>
                <a:gd name="T10" fmla="*/ 6 w 93"/>
                <a:gd name="T11" fmla="*/ 1 h 50"/>
                <a:gd name="T12" fmla="*/ 7 w 93"/>
                <a:gd name="T13" fmla="*/ 1 h 50"/>
                <a:gd name="T14" fmla="*/ 7 w 93"/>
                <a:gd name="T15" fmla="*/ 1 h 50"/>
                <a:gd name="T16" fmla="*/ 8 w 93"/>
                <a:gd name="T17" fmla="*/ 2 h 50"/>
                <a:gd name="T18" fmla="*/ 8 w 93"/>
                <a:gd name="T19" fmla="*/ 2 h 50"/>
                <a:gd name="T20" fmla="*/ 9 w 93"/>
                <a:gd name="T21" fmla="*/ 2 h 50"/>
                <a:gd name="T22" fmla="*/ 9 w 93"/>
                <a:gd name="T23" fmla="*/ 3 h 50"/>
                <a:gd name="T24" fmla="*/ 9 w 93"/>
                <a:gd name="T25" fmla="*/ 3 h 50"/>
                <a:gd name="T26" fmla="*/ 8 w 93"/>
                <a:gd name="T27" fmla="*/ 3 h 50"/>
                <a:gd name="T28" fmla="*/ 7 w 93"/>
                <a:gd name="T29" fmla="*/ 4 h 50"/>
                <a:gd name="T30" fmla="*/ 6 w 93"/>
                <a:gd name="T31" fmla="*/ 4 h 50"/>
                <a:gd name="T32" fmla="*/ 5 w 93"/>
                <a:gd name="T33" fmla="*/ 4 h 50"/>
                <a:gd name="T34" fmla="*/ 4 w 93"/>
                <a:gd name="T35" fmla="*/ 4 h 50"/>
                <a:gd name="T36" fmla="*/ 3 w 93"/>
                <a:gd name="T37" fmla="*/ 5 h 50"/>
                <a:gd name="T38" fmla="*/ 3 w 93"/>
                <a:gd name="T39" fmla="*/ 5 h 50"/>
                <a:gd name="T40" fmla="*/ 3 w 93"/>
                <a:gd name="T41" fmla="*/ 4 h 50"/>
                <a:gd name="T42" fmla="*/ 2 w 93"/>
                <a:gd name="T43" fmla="*/ 4 h 50"/>
                <a:gd name="T44" fmla="*/ 2 w 93"/>
                <a:gd name="T45" fmla="*/ 4 h 50"/>
                <a:gd name="T46" fmla="*/ 2 w 93"/>
                <a:gd name="T47" fmla="*/ 4 h 50"/>
                <a:gd name="T48" fmla="*/ 2 w 93"/>
                <a:gd name="T49" fmla="*/ 3 h 50"/>
                <a:gd name="T50" fmla="*/ 2 w 93"/>
                <a:gd name="T51" fmla="*/ 3 h 50"/>
                <a:gd name="T52" fmla="*/ 2 w 93"/>
                <a:gd name="T53" fmla="*/ 2 h 50"/>
                <a:gd name="T54" fmla="*/ 2 w 93"/>
                <a:gd name="T55" fmla="*/ 2 h 50"/>
                <a:gd name="T56" fmla="*/ 2 w 93"/>
                <a:gd name="T57" fmla="*/ 2 h 50"/>
                <a:gd name="T58" fmla="*/ 0 w 93"/>
                <a:gd name="T59" fmla="*/ 2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 w 1029"/>
                <a:gd name="T1" fmla="*/ 12 h 604"/>
                <a:gd name="T2" fmla="*/ 7 w 1029"/>
                <a:gd name="T3" fmla="*/ 7 h 604"/>
                <a:gd name="T4" fmla="*/ 28 w 1029"/>
                <a:gd name="T5" fmla="*/ 0 h 604"/>
                <a:gd name="T6" fmla="*/ 21 w 1029"/>
                <a:gd name="T7" fmla="*/ 5 h 604"/>
                <a:gd name="T8" fmla="*/ 19 w 1029"/>
                <a:gd name="T9" fmla="*/ 11 h 604"/>
                <a:gd name="T10" fmla="*/ 28 w 1029"/>
                <a:gd name="T11" fmla="*/ 7 h 604"/>
                <a:gd name="T12" fmla="*/ 41 w 1029"/>
                <a:gd name="T13" fmla="*/ 2 h 604"/>
                <a:gd name="T14" fmla="*/ 45 w 1029"/>
                <a:gd name="T15" fmla="*/ 3 h 604"/>
                <a:gd name="T16" fmla="*/ 45 w 1029"/>
                <a:gd name="T17" fmla="*/ 8 h 604"/>
                <a:gd name="T18" fmla="*/ 60 w 1029"/>
                <a:gd name="T19" fmla="*/ 9 h 604"/>
                <a:gd name="T20" fmla="*/ 70 w 1029"/>
                <a:gd name="T21" fmla="*/ 10 h 604"/>
                <a:gd name="T22" fmla="*/ 78 w 1029"/>
                <a:gd name="T23" fmla="*/ 12 h 604"/>
                <a:gd name="T24" fmla="*/ 78 w 1029"/>
                <a:gd name="T25" fmla="*/ 14 h 604"/>
                <a:gd name="T26" fmla="*/ 74 w 1029"/>
                <a:gd name="T27" fmla="*/ 20 h 604"/>
                <a:gd name="T28" fmla="*/ 83 w 1029"/>
                <a:gd name="T29" fmla="*/ 18 h 604"/>
                <a:gd name="T30" fmla="*/ 90 w 1029"/>
                <a:gd name="T31" fmla="*/ 21 h 604"/>
                <a:gd name="T32" fmla="*/ 88 w 1029"/>
                <a:gd name="T33" fmla="*/ 26 h 604"/>
                <a:gd name="T34" fmla="*/ 81 w 1029"/>
                <a:gd name="T35" fmla="*/ 27 h 604"/>
                <a:gd name="T36" fmla="*/ 89 w 1029"/>
                <a:gd name="T37" fmla="*/ 30 h 604"/>
                <a:gd name="T38" fmla="*/ 93 w 1029"/>
                <a:gd name="T39" fmla="*/ 35 h 604"/>
                <a:gd name="T40" fmla="*/ 101 w 1029"/>
                <a:gd name="T41" fmla="*/ 35 h 604"/>
                <a:gd name="T42" fmla="*/ 106 w 1029"/>
                <a:gd name="T43" fmla="*/ 38 h 604"/>
                <a:gd name="T44" fmla="*/ 97 w 1029"/>
                <a:gd name="T45" fmla="*/ 44 h 604"/>
                <a:gd name="T46" fmla="*/ 93 w 1029"/>
                <a:gd name="T47" fmla="*/ 45 h 604"/>
                <a:gd name="T48" fmla="*/ 90 w 1029"/>
                <a:gd name="T49" fmla="*/ 48 h 604"/>
                <a:gd name="T50" fmla="*/ 86 w 1029"/>
                <a:gd name="T51" fmla="*/ 45 h 604"/>
                <a:gd name="T52" fmla="*/ 88 w 1029"/>
                <a:gd name="T53" fmla="*/ 42 h 604"/>
                <a:gd name="T54" fmla="*/ 82 w 1029"/>
                <a:gd name="T55" fmla="*/ 41 h 604"/>
                <a:gd name="T56" fmla="*/ 78 w 1029"/>
                <a:gd name="T57" fmla="*/ 39 h 604"/>
                <a:gd name="T58" fmla="*/ 77 w 1029"/>
                <a:gd name="T59" fmla="*/ 42 h 604"/>
                <a:gd name="T60" fmla="*/ 77 w 1029"/>
                <a:gd name="T61" fmla="*/ 48 h 604"/>
                <a:gd name="T62" fmla="*/ 82 w 1029"/>
                <a:gd name="T63" fmla="*/ 56 h 604"/>
                <a:gd name="T64" fmla="*/ 80 w 1029"/>
                <a:gd name="T65" fmla="*/ 59 h 604"/>
                <a:gd name="T66" fmla="*/ 73 w 1029"/>
                <a:gd name="T67" fmla="*/ 60 h 604"/>
                <a:gd name="T68" fmla="*/ 64 w 1029"/>
                <a:gd name="T69" fmla="*/ 55 h 604"/>
                <a:gd name="T70" fmla="*/ 69 w 1029"/>
                <a:gd name="T71" fmla="*/ 61 h 604"/>
                <a:gd name="T72" fmla="*/ 69 w 1029"/>
                <a:gd name="T73" fmla="*/ 65 h 604"/>
                <a:gd name="T74" fmla="*/ 54 w 1029"/>
                <a:gd name="T75" fmla="*/ 61 h 604"/>
                <a:gd name="T76" fmla="*/ 49 w 1029"/>
                <a:gd name="T77" fmla="*/ 56 h 604"/>
                <a:gd name="T78" fmla="*/ 42 w 1029"/>
                <a:gd name="T79" fmla="*/ 51 h 604"/>
                <a:gd name="T80" fmla="*/ 38 w 1029"/>
                <a:gd name="T81" fmla="*/ 49 h 604"/>
                <a:gd name="T82" fmla="*/ 41 w 1029"/>
                <a:gd name="T83" fmla="*/ 47 h 604"/>
                <a:gd name="T84" fmla="*/ 48 w 1029"/>
                <a:gd name="T85" fmla="*/ 43 h 604"/>
                <a:gd name="T86" fmla="*/ 52 w 1029"/>
                <a:gd name="T87" fmla="*/ 41 h 604"/>
                <a:gd name="T88" fmla="*/ 60 w 1029"/>
                <a:gd name="T89" fmla="*/ 41 h 604"/>
                <a:gd name="T90" fmla="*/ 64 w 1029"/>
                <a:gd name="T91" fmla="*/ 42 h 604"/>
                <a:gd name="T92" fmla="*/ 71 w 1029"/>
                <a:gd name="T93" fmla="*/ 42 h 604"/>
                <a:gd name="T94" fmla="*/ 60 w 1029"/>
                <a:gd name="T95" fmla="*/ 38 h 604"/>
                <a:gd name="T96" fmla="*/ 56 w 1029"/>
                <a:gd name="T97" fmla="*/ 39 h 604"/>
                <a:gd name="T98" fmla="*/ 56 w 1029"/>
                <a:gd name="T99" fmla="*/ 38 h 604"/>
                <a:gd name="T100" fmla="*/ 60 w 1029"/>
                <a:gd name="T101" fmla="*/ 33 h 604"/>
                <a:gd name="T102" fmla="*/ 60 w 1029"/>
                <a:gd name="T103" fmla="*/ 30 h 604"/>
                <a:gd name="T104" fmla="*/ 54 w 1029"/>
                <a:gd name="T105" fmla="*/ 27 h 604"/>
                <a:gd name="T106" fmla="*/ 49 w 1029"/>
                <a:gd name="T107" fmla="*/ 21 h 604"/>
                <a:gd name="T108" fmla="*/ 45 w 1029"/>
                <a:gd name="T109" fmla="*/ 18 h 604"/>
                <a:gd name="T110" fmla="*/ 42 w 1029"/>
                <a:gd name="T111" fmla="*/ 17 h 604"/>
                <a:gd name="T112" fmla="*/ 39 w 1029"/>
                <a:gd name="T113" fmla="*/ 22 h 604"/>
                <a:gd name="T114" fmla="*/ 22 w 1029"/>
                <a:gd name="T115" fmla="*/ 19 h 604"/>
                <a:gd name="T116" fmla="*/ 12 w 1029"/>
                <a:gd name="T117" fmla="*/ 20 h 604"/>
                <a:gd name="T118" fmla="*/ 8 w 1029"/>
                <a:gd name="T119" fmla="*/ 20 h 604"/>
                <a:gd name="T120" fmla="*/ 2 w 1029"/>
                <a:gd name="T121" fmla="*/ 19 h 604"/>
                <a:gd name="T122" fmla="*/ 1 w 1029"/>
                <a:gd name="T123" fmla="*/ 17 h 604"/>
                <a:gd name="T124" fmla="*/ 8 w 1029"/>
                <a:gd name="T125" fmla="*/ 16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83 w 1268"/>
                <a:gd name="T1" fmla="*/ 4 h 321"/>
                <a:gd name="T2" fmla="*/ 85 w 1268"/>
                <a:gd name="T3" fmla="*/ 2 h 321"/>
                <a:gd name="T4" fmla="*/ 88 w 1268"/>
                <a:gd name="T5" fmla="*/ 1 h 321"/>
                <a:gd name="T6" fmla="*/ 90 w 1268"/>
                <a:gd name="T7" fmla="*/ 3 h 321"/>
                <a:gd name="T8" fmla="*/ 98 w 1268"/>
                <a:gd name="T9" fmla="*/ 2 h 321"/>
                <a:gd name="T10" fmla="*/ 106 w 1268"/>
                <a:gd name="T11" fmla="*/ 0 h 321"/>
                <a:gd name="T12" fmla="*/ 113 w 1268"/>
                <a:gd name="T13" fmla="*/ 2 h 321"/>
                <a:gd name="T14" fmla="*/ 118 w 1268"/>
                <a:gd name="T15" fmla="*/ 2 h 321"/>
                <a:gd name="T16" fmla="*/ 132 w 1268"/>
                <a:gd name="T17" fmla="*/ 3 h 321"/>
                <a:gd name="T18" fmla="*/ 129 w 1268"/>
                <a:gd name="T19" fmla="*/ 5 h 321"/>
                <a:gd name="T20" fmla="*/ 121 w 1268"/>
                <a:gd name="T21" fmla="*/ 7 h 321"/>
                <a:gd name="T22" fmla="*/ 110 w 1268"/>
                <a:gd name="T23" fmla="*/ 8 h 321"/>
                <a:gd name="T24" fmla="*/ 107 w 1268"/>
                <a:gd name="T25" fmla="*/ 10 h 321"/>
                <a:gd name="T26" fmla="*/ 104 w 1268"/>
                <a:gd name="T27" fmla="*/ 11 h 321"/>
                <a:gd name="T28" fmla="*/ 98 w 1268"/>
                <a:gd name="T29" fmla="*/ 11 h 321"/>
                <a:gd name="T30" fmla="*/ 97 w 1268"/>
                <a:gd name="T31" fmla="*/ 13 h 321"/>
                <a:gd name="T32" fmla="*/ 78 w 1268"/>
                <a:gd name="T33" fmla="*/ 14 h 321"/>
                <a:gd name="T34" fmla="*/ 69 w 1268"/>
                <a:gd name="T35" fmla="*/ 17 h 321"/>
                <a:gd name="T36" fmla="*/ 66 w 1268"/>
                <a:gd name="T37" fmla="*/ 19 h 321"/>
                <a:gd name="T38" fmla="*/ 62 w 1268"/>
                <a:gd name="T39" fmla="*/ 18 h 321"/>
                <a:gd name="T40" fmla="*/ 59 w 1268"/>
                <a:gd name="T41" fmla="*/ 19 h 321"/>
                <a:gd name="T42" fmla="*/ 61 w 1268"/>
                <a:gd name="T43" fmla="*/ 22 h 321"/>
                <a:gd name="T44" fmla="*/ 57 w 1268"/>
                <a:gd name="T45" fmla="*/ 26 h 321"/>
                <a:gd name="T46" fmla="*/ 50 w 1268"/>
                <a:gd name="T47" fmla="*/ 25 h 321"/>
                <a:gd name="T48" fmla="*/ 42 w 1268"/>
                <a:gd name="T49" fmla="*/ 26 h 321"/>
                <a:gd name="T50" fmla="*/ 42 w 1268"/>
                <a:gd name="T51" fmla="*/ 27 h 321"/>
                <a:gd name="T52" fmla="*/ 41 w 1268"/>
                <a:gd name="T53" fmla="*/ 31 h 321"/>
                <a:gd name="T54" fmla="*/ 35 w 1268"/>
                <a:gd name="T55" fmla="*/ 34 h 321"/>
                <a:gd name="T56" fmla="*/ 30 w 1268"/>
                <a:gd name="T57" fmla="*/ 32 h 321"/>
                <a:gd name="T58" fmla="*/ 26 w 1268"/>
                <a:gd name="T59" fmla="*/ 30 h 321"/>
                <a:gd name="T60" fmla="*/ 10 w 1268"/>
                <a:gd name="T61" fmla="*/ 29 h 321"/>
                <a:gd name="T62" fmla="*/ 0 w 1268"/>
                <a:gd name="T63" fmla="*/ 30 h 321"/>
                <a:gd name="T64" fmla="*/ 1 w 1268"/>
                <a:gd name="T65" fmla="*/ 28 h 321"/>
                <a:gd name="T66" fmla="*/ 6 w 1268"/>
                <a:gd name="T67" fmla="*/ 26 h 321"/>
                <a:gd name="T68" fmla="*/ 15 w 1268"/>
                <a:gd name="T69" fmla="*/ 25 h 321"/>
                <a:gd name="T70" fmla="*/ 18 w 1268"/>
                <a:gd name="T71" fmla="*/ 24 h 321"/>
                <a:gd name="T72" fmla="*/ 20 w 1268"/>
                <a:gd name="T73" fmla="*/ 23 h 321"/>
                <a:gd name="T74" fmla="*/ 23 w 1268"/>
                <a:gd name="T75" fmla="*/ 25 h 321"/>
                <a:gd name="T76" fmla="*/ 26 w 1268"/>
                <a:gd name="T77" fmla="*/ 26 h 321"/>
                <a:gd name="T78" fmla="*/ 22 w 1268"/>
                <a:gd name="T79" fmla="*/ 22 h 321"/>
                <a:gd name="T80" fmla="*/ 20 w 1268"/>
                <a:gd name="T81" fmla="*/ 21 h 321"/>
                <a:gd name="T82" fmla="*/ 21 w 1268"/>
                <a:gd name="T83" fmla="*/ 19 h 321"/>
                <a:gd name="T84" fmla="*/ 25 w 1268"/>
                <a:gd name="T85" fmla="*/ 19 h 321"/>
                <a:gd name="T86" fmla="*/ 38 w 1268"/>
                <a:gd name="T87" fmla="*/ 20 h 321"/>
                <a:gd name="T88" fmla="*/ 44 w 1268"/>
                <a:gd name="T89" fmla="*/ 19 h 321"/>
                <a:gd name="T90" fmla="*/ 34 w 1268"/>
                <a:gd name="T91" fmla="*/ 18 h 321"/>
                <a:gd name="T92" fmla="*/ 31 w 1268"/>
                <a:gd name="T93" fmla="*/ 16 h 321"/>
                <a:gd name="T94" fmla="*/ 39 w 1268"/>
                <a:gd name="T95" fmla="*/ 15 h 321"/>
                <a:gd name="T96" fmla="*/ 45 w 1268"/>
                <a:gd name="T97" fmla="*/ 17 h 321"/>
                <a:gd name="T98" fmla="*/ 50 w 1268"/>
                <a:gd name="T99" fmla="*/ 13 h 321"/>
                <a:gd name="T100" fmla="*/ 69 w 1268"/>
                <a:gd name="T101" fmla="*/ 9 h 321"/>
                <a:gd name="T102" fmla="*/ 61 w 1268"/>
                <a:gd name="T103" fmla="*/ 12 h 321"/>
                <a:gd name="T104" fmla="*/ 47 w 1268"/>
                <a:gd name="T105" fmla="*/ 12 h 321"/>
                <a:gd name="T106" fmla="*/ 33 w 1268"/>
                <a:gd name="T107" fmla="*/ 12 h 321"/>
                <a:gd name="T108" fmla="*/ 26 w 1268"/>
                <a:gd name="T109" fmla="*/ 11 h 321"/>
                <a:gd name="T110" fmla="*/ 23 w 1268"/>
                <a:gd name="T111" fmla="*/ 9 h 321"/>
                <a:gd name="T112" fmla="*/ 26 w 1268"/>
                <a:gd name="T113" fmla="*/ 8 h 321"/>
                <a:gd name="T114" fmla="*/ 46 w 1268"/>
                <a:gd name="T115" fmla="*/ 5 h 321"/>
                <a:gd name="T116" fmla="*/ 64 w 1268"/>
                <a:gd name="T117" fmla="*/ 3 h 321"/>
                <a:gd name="T118" fmla="*/ 70 w 1268"/>
                <a:gd name="T119" fmla="*/ 2 h 321"/>
                <a:gd name="T120" fmla="*/ 79 w 1268"/>
                <a:gd name="T121" fmla="*/ 3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1 h 117"/>
                <a:gd name="T4" fmla="*/ 0 w 160"/>
                <a:gd name="T5" fmla="*/ 2 h 117"/>
                <a:gd name="T6" fmla="*/ 1 w 160"/>
                <a:gd name="T7" fmla="*/ 3 h 117"/>
                <a:gd name="T8" fmla="*/ 2 w 160"/>
                <a:gd name="T9" fmla="*/ 4 h 117"/>
                <a:gd name="T10" fmla="*/ 2 w 160"/>
                <a:gd name="T11" fmla="*/ 5 h 117"/>
                <a:gd name="T12" fmla="*/ 3 w 160"/>
                <a:gd name="T13" fmla="*/ 6 h 117"/>
                <a:gd name="T14" fmla="*/ 4 w 160"/>
                <a:gd name="T15" fmla="*/ 7 h 117"/>
                <a:gd name="T16" fmla="*/ 5 w 160"/>
                <a:gd name="T17" fmla="*/ 8 h 117"/>
                <a:gd name="T18" fmla="*/ 6 w 160"/>
                <a:gd name="T19" fmla="*/ 9 h 117"/>
                <a:gd name="T20" fmla="*/ 7 w 160"/>
                <a:gd name="T21" fmla="*/ 10 h 117"/>
                <a:gd name="T22" fmla="*/ 9 w 160"/>
                <a:gd name="T23" fmla="*/ 10 h 117"/>
                <a:gd name="T24" fmla="*/ 10 w 160"/>
                <a:gd name="T25" fmla="*/ 11 h 117"/>
                <a:gd name="T26" fmla="*/ 11 w 160"/>
                <a:gd name="T27" fmla="*/ 12 h 117"/>
                <a:gd name="T28" fmla="*/ 12 w 160"/>
                <a:gd name="T29" fmla="*/ 12 h 117"/>
                <a:gd name="T30" fmla="*/ 13 w 160"/>
                <a:gd name="T31" fmla="*/ 12 h 117"/>
                <a:gd name="T32" fmla="*/ 13 w 160"/>
                <a:gd name="T33" fmla="*/ 12 h 117"/>
                <a:gd name="T34" fmla="*/ 14 w 160"/>
                <a:gd name="T35" fmla="*/ 12 h 117"/>
                <a:gd name="T36" fmla="*/ 15 w 160"/>
                <a:gd name="T37" fmla="*/ 12 h 117"/>
                <a:gd name="T38" fmla="*/ 16 w 160"/>
                <a:gd name="T39" fmla="*/ 12 h 117"/>
                <a:gd name="T40" fmla="*/ 16 w 160"/>
                <a:gd name="T41" fmla="*/ 11 h 117"/>
                <a:gd name="T42" fmla="*/ 15 w 160"/>
                <a:gd name="T43" fmla="*/ 10 h 117"/>
                <a:gd name="T44" fmla="*/ 14 w 160"/>
                <a:gd name="T45" fmla="*/ 8 h 117"/>
                <a:gd name="T46" fmla="*/ 14 w 160"/>
                <a:gd name="T47" fmla="*/ 8 h 117"/>
                <a:gd name="T48" fmla="*/ 14 w 160"/>
                <a:gd name="T49" fmla="*/ 7 h 117"/>
                <a:gd name="T50" fmla="*/ 13 w 160"/>
                <a:gd name="T51" fmla="*/ 6 h 117"/>
                <a:gd name="T52" fmla="*/ 13 w 160"/>
                <a:gd name="T53" fmla="*/ 5 h 117"/>
                <a:gd name="T54" fmla="*/ 13 w 160"/>
                <a:gd name="T55" fmla="*/ 5 h 117"/>
                <a:gd name="T56" fmla="*/ 12 w 160"/>
                <a:gd name="T57" fmla="*/ 5 h 117"/>
                <a:gd name="T58" fmla="*/ 11 w 160"/>
                <a:gd name="T59" fmla="*/ 4 h 117"/>
                <a:gd name="T60" fmla="*/ 10 w 160"/>
                <a:gd name="T61" fmla="*/ 4 h 117"/>
                <a:gd name="T62" fmla="*/ 9 w 160"/>
                <a:gd name="T63" fmla="*/ 3 h 117"/>
                <a:gd name="T64" fmla="*/ 8 w 160"/>
                <a:gd name="T65" fmla="*/ 2 h 117"/>
                <a:gd name="T66" fmla="*/ 8 w 160"/>
                <a:gd name="T67" fmla="*/ 2 h 117"/>
                <a:gd name="T68" fmla="*/ 7 w 160"/>
                <a:gd name="T69" fmla="*/ 1 h 117"/>
                <a:gd name="T70" fmla="*/ 7 w 160"/>
                <a:gd name="T71" fmla="*/ 1 h 117"/>
                <a:gd name="T72" fmla="*/ 7 w 160"/>
                <a:gd name="T73" fmla="*/ 1 h 117"/>
                <a:gd name="T74" fmla="*/ 6 w 160"/>
                <a:gd name="T75" fmla="*/ 1 h 117"/>
                <a:gd name="T76" fmla="*/ 5 w 160"/>
                <a:gd name="T77" fmla="*/ 1 h 117"/>
                <a:gd name="T78" fmla="*/ 4 w 160"/>
                <a:gd name="T79" fmla="*/ 0 h 117"/>
                <a:gd name="T80" fmla="*/ 4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 w 80"/>
                <a:gd name="T1" fmla="*/ 13 h 141"/>
                <a:gd name="T2" fmla="*/ 8 w 80"/>
                <a:gd name="T3" fmla="*/ 4 h 141"/>
                <a:gd name="T4" fmla="*/ 8 w 80"/>
                <a:gd name="T5" fmla="*/ 2 h 141"/>
                <a:gd name="T6" fmla="*/ 7 w 80"/>
                <a:gd name="T7" fmla="*/ 2 h 141"/>
                <a:gd name="T8" fmla="*/ 6 w 80"/>
                <a:gd name="T9" fmla="*/ 2 h 141"/>
                <a:gd name="T10" fmla="*/ 6 w 80"/>
                <a:gd name="T11" fmla="*/ 2 h 141"/>
                <a:gd name="T12" fmla="*/ 5 w 80"/>
                <a:gd name="T13" fmla="*/ 1 h 141"/>
                <a:gd name="T14" fmla="*/ 5 w 80"/>
                <a:gd name="T15" fmla="*/ 1 h 141"/>
                <a:gd name="T16" fmla="*/ 5 w 80"/>
                <a:gd name="T17" fmla="*/ 1 h 141"/>
                <a:gd name="T18" fmla="*/ 4 w 80"/>
                <a:gd name="T19" fmla="*/ 0 h 141"/>
                <a:gd name="T20" fmla="*/ 4 w 80"/>
                <a:gd name="T21" fmla="*/ 0 h 141"/>
                <a:gd name="T22" fmla="*/ 0 w 80"/>
                <a:gd name="T23" fmla="*/ 0 h 141"/>
                <a:gd name="T24" fmla="*/ 0 w 80"/>
                <a:gd name="T25" fmla="*/ 3 h 141"/>
                <a:gd name="T26" fmla="*/ 0 w 80"/>
                <a:gd name="T27" fmla="*/ 4 h 141"/>
                <a:gd name="T28" fmla="*/ 0 w 80"/>
                <a:gd name="T29" fmla="*/ 6 h 141"/>
                <a:gd name="T30" fmla="*/ 0 w 80"/>
                <a:gd name="T31" fmla="*/ 7 h 141"/>
                <a:gd name="T32" fmla="*/ 0 w 80"/>
                <a:gd name="T33" fmla="*/ 8 h 141"/>
                <a:gd name="T34" fmla="*/ 0 w 80"/>
                <a:gd name="T35" fmla="*/ 8 h 141"/>
                <a:gd name="T36" fmla="*/ 1 w 80"/>
                <a:gd name="T37" fmla="*/ 9 h 141"/>
                <a:gd name="T38" fmla="*/ 1 w 80"/>
                <a:gd name="T39" fmla="*/ 10 h 141"/>
                <a:gd name="T40" fmla="*/ 2 w 80"/>
                <a:gd name="T41" fmla="*/ 13 h 141"/>
                <a:gd name="T42" fmla="*/ 3 w 80"/>
                <a:gd name="T43" fmla="*/ 15 h 141"/>
                <a:gd name="T44" fmla="*/ 3 w 80"/>
                <a:gd name="T45" fmla="*/ 14 h 141"/>
                <a:gd name="T46" fmla="*/ 4 w 80"/>
                <a:gd name="T47" fmla="*/ 14 h 141"/>
                <a:gd name="T48" fmla="*/ 4 w 80"/>
                <a:gd name="T49" fmla="*/ 13 h 141"/>
                <a:gd name="T50" fmla="*/ 4 w 80"/>
                <a:gd name="T51" fmla="*/ 13 h 141"/>
                <a:gd name="T52" fmla="*/ 4 w 80"/>
                <a:gd name="T53" fmla="*/ 13 h 141"/>
                <a:gd name="T54" fmla="*/ 4 w 80"/>
                <a:gd name="T55" fmla="*/ 13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0 h 124"/>
                <a:gd name="T2" fmla="*/ 0 w 259"/>
                <a:gd name="T3" fmla="*/ 11 h 124"/>
                <a:gd name="T4" fmla="*/ 0 w 259"/>
                <a:gd name="T5" fmla="*/ 11 h 124"/>
                <a:gd name="T6" fmla="*/ 0 w 259"/>
                <a:gd name="T7" fmla="*/ 11 h 124"/>
                <a:gd name="T8" fmla="*/ 1 w 259"/>
                <a:gd name="T9" fmla="*/ 12 h 124"/>
                <a:gd name="T10" fmla="*/ 1 w 259"/>
                <a:gd name="T11" fmla="*/ 12 h 124"/>
                <a:gd name="T12" fmla="*/ 2 w 259"/>
                <a:gd name="T13" fmla="*/ 13 h 124"/>
                <a:gd name="T14" fmla="*/ 3 w 259"/>
                <a:gd name="T15" fmla="*/ 13 h 124"/>
                <a:gd name="T16" fmla="*/ 4 w 259"/>
                <a:gd name="T17" fmla="*/ 13 h 124"/>
                <a:gd name="T18" fmla="*/ 5 w 259"/>
                <a:gd name="T19" fmla="*/ 14 h 124"/>
                <a:gd name="T20" fmla="*/ 6 w 259"/>
                <a:gd name="T21" fmla="*/ 14 h 124"/>
                <a:gd name="T22" fmla="*/ 7 w 259"/>
                <a:gd name="T23" fmla="*/ 14 h 124"/>
                <a:gd name="T24" fmla="*/ 8 w 259"/>
                <a:gd name="T25" fmla="*/ 14 h 124"/>
                <a:gd name="T26" fmla="*/ 8 w 259"/>
                <a:gd name="T27" fmla="*/ 13 h 124"/>
                <a:gd name="T28" fmla="*/ 9 w 259"/>
                <a:gd name="T29" fmla="*/ 13 h 124"/>
                <a:gd name="T30" fmla="*/ 10 w 259"/>
                <a:gd name="T31" fmla="*/ 13 h 124"/>
                <a:gd name="T32" fmla="*/ 11 w 259"/>
                <a:gd name="T33" fmla="*/ 12 h 124"/>
                <a:gd name="T34" fmla="*/ 12 w 259"/>
                <a:gd name="T35" fmla="*/ 11 h 124"/>
                <a:gd name="T36" fmla="*/ 13 w 259"/>
                <a:gd name="T37" fmla="*/ 11 h 124"/>
                <a:gd name="T38" fmla="*/ 13 w 259"/>
                <a:gd name="T39" fmla="*/ 11 h 124"/>
                <a:gd name="T40" fmla="*/ 14 w 259"/>
                <a:gd name="T41" fmla="*/ 10 h 124"/>
                <a:gd name="T42" fmla="*/ 15 w 259"/>
                <a:gd name="T43" fmla="*/ 10 h 124"/>
                <a:gd name="T44" fmla="*/ 16 w 259"/>
                <a:gd name="T45" fmla="*/ 10 h 124"/>
                <a:gd name="T46" fmla="*/ 17 w 259"/>
                <a:gd name="T47" fmla="*/ 10 h 124"/>
                <a:gd name="T48" fmla="*/ 18 w 259"/>
                <a:gd name="T49" fmla="*/ 11 h 124"/>
                <a:gd name="T50" fmla="*/ 19 w 259"/>
                <a:gd name="T51" fmla="*/ 11 h 124"/>
                <a:gd name="T52" fmla="*/ 19 w 259"/>
                <a:gd name="T53" fmla="*/ 11 h 124"/>
                <a:gd name="T54" fmla="*/ 21 w 259"/>
                <a:gd name="T55" fmla="*/ 12 h 124"/>
                <a:gd name="T56" fmla="*/ 22 w 259"/>
                <a:gd name="T57" fmla="*/ 13 h 124"/>
                <a:gd name="T58" fmla="*/ 27 w 259"/>
                <a:gd name="T59" fmla="*/ 13 h 124"/>
                <a:gd name="T60" fmla="*/ 27 w 259"/>
                <a:gd name="T61" fmla="*/ 11 h 124"/>
                <a:gd name="T62" fmla="*/ 26 w 259"/>
                <a:gd name="T63" fmla="*/ 11 h 124"/>
                <a:gd name="T64" fmla="*/ 25 w 259"/>
                <a:gd name="T65" fmla="*/ 11 h 124"/>
                <a:gd name="T66" fmla="*/ 24 w 259"/>
                <a:gd name="T67" fmla="*/ 10 h 124"/>
                <a:gd name="T68" fmla="*/ 23 w 259"/>
                <a:gd name="T69" fmla="*/ 10 h 124"/>
                <a:gd name="T70" fmla="*/ 24 w 259"/>
                <a:gd name="T71" fmla="*/ 9 h 124"/>
                <a:gd name="T72" fmla="*/ 24 w 259"/>
                <a:gd name="T73" fmla="*/ 9 h 124"/>
                <a:gd name="T74" fmla="*/ 25 w 259"/>
                <a:gd name="T75" fmla="*/ 8 h 124"/>
                <a:gd name="T76" fmla="*/ 25 w 259"/>
                <a:gd name="T77" fmla="*/ 8 h 124"/>
                <a:gd name="T78" fmla="*/ 24 w 259"/>
                <a:gd name="T79" fmla="*/ 7 h 124"/>
                <a:gd name="T80" fmla="*/ 24 w 259"/>
                <a:gd name="T81" fmla="*/ 6 h 124"/>
                <a:gd name="T82" fmla="*/ 23 w 259"/>
                <a:gd name="T83" fmla="*/ 6 h 124"/>
                <a:gd name="T84" fmla="*/ 22 w 259"/>
                <a:gd name="T85" fmla="*/ 5 h 124"/>
                <a:gd name="T86" fmla="*/ 20 w 259"/>
                <a:gd name="T87" fmla="*/ 4 h 124"/>
                <a:gd name="T88" fmla="*/ 19 w 259"/>
                <a:gd name="T89" fmla="*/ 3 h 124"/>
                <a:gd name="T90" fmla="*/ 17 w 259"/>
                <a:gd name="T91" fmla="*/ 3 h 124"/>
                <a:gd name="T92" fmla="*/ 16 w 259"/>
                <a:gd name="T93" fmla="*/ 2 h 124"/>
                <a:gd name="T94" fmla="*/ 15 w 259"/>
                <a:gd name="T95" fmla="*/ 1 h 124"/>
                <a:gd name="T96" fmla="*/ 14 w 259"/>
                <a:gd name="T97" fmla="*/ 1 h 124"/>
                <a:gd name="T98" fmla="*/ 14 w 259"/>
                <a:gd name="T99" fmla="*/ 1 h 124"/>
                <a:gd name="T100" fmla="*/ 13 w 259"/>
                <a:gd name="T101" fmla="*/ 0 h 124"/>
                <a:gd name="T102" fmla="*/ 13 w 259"/>
                <a:gd name="T103" fmla="*/ 0 h 124"/>
                <a:gd name="T104" fmla="*/ 12 w 259"/>
                <a:gd name="T105" fmla="*/ 1 h 124"/>
                <a:gd name="T106" fmla="*/ 11 w 259"/>
                <a:gd name="T107" fmla="*/ 1 h 124"/>
                <a:gd name="T108" fmla="*/ 10 w 259"/>
                <a:gd name="T109" fmla="*/ 2 h 124"/>
                <a:gd name="T110" fmla="*/ 8 w 259"/>
                <a:gd name="T111" fmla="*/ 3 h 124"/>
                <a:gd name="T112" fmla="*/ 6 w 259"/>
                <a:gd name="T113" fmla="*/ 5 h 124"/>
                <a:gd name="T114" fmla="*/ 4 w 259"/>
                <a:gd name="T115" fmla="*/ 6 h 124"/>
                <a:gd name="T116" fmla="*/ 2 w 259"/>
                <a:gd name="T117" fmla="*/ 8 h 124"/>
                <a:gd name="T118" fmla="*/ 1 w 259"/>
                <a:gd name="T119" fmla="*/ 9 h 124"/>
                <a:gd name="T120" fmla="*/ 0 w 259"/>
                <a:gd name="T121" fmla="*/ 1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4 h 57"/>
                <a:gd name="T2" fmla="*/ 1 w 119"/>
                <a:gd name="T3" fmla="*/ 4 h 57"/>
                <a:gd name="T4" fmla="*/ 1 w 119"/>
                <a:gd name="T5" fmla="*/ 4 h 57"/>
                <a:gd name="T6" fmla="*/ 2 w 119"/>
                <a:gd name="T7" fmla="*/ 5 h 57"/>
                <a:gd name="T8" fmla="*/ 3 w 119"/>
                <a:gd name="T9" fmla="*/ 5 h 57"/>
                <a:gd name="T10" fmla="*/ 3 w 119"/>
                <a:gd name="T11" fmla="*/ 6 h 57"/>
                <a:gd name="T12" fmla="*/ 4 w 119"/>
                <a:gd name="T13" fmla="*/ 6 h 57"/>
                <a:gd name="T14" fmla="*/ 4 w 119"/>
                <a:gd name="T15" fmla="*/ 6 h 57"/>
                <a:gd name="T16" fmla="*/ 5 w 119"/>
                <a:gd name="T17" fmla="*/ 6 h 57"/>
                <a:gd name="T18" fmla="*/ 6 w 119"/>
                <a:gd name="T19" fmla="*/ 6 h 57"/>
                <a:gd name="T20" fmla="*/ 6 w 119"/>
                <a:gd name="T21" fmla="*/ 6 h 57"/>
                <a:gd name="T22" fmla="*/ 7 w 119"/>
                <a:gd name="T23" fmla="*/ 6 h 57"/>
                <a:gd name="T24" fmla="*/ 8 w 119"/>
                <a:gd name="T25" fmla="*/ 6 h 57"/>
                <a:gd name="T26" fmla="*/ 9 w 119"/>
                <a:gd name="T27" fmla="*/ 6 h 57"/>
                <a:gd name="T28" fmla="*/ 9 w 119"/>
                <a:gd name="T29" fmla="*/ 5 h 57"/>
                <a:gd name="T30" fmla="*/ 10 w 119"/>
                <a:gd name="T31" fmla="*/ 5 h 57"/>
                <a:gd name="T32" fmla="*/ 10 w 119"/>
                <a:gd name="T33" fmla="*/ 4 h 57"/>
                <a:gd name="T34" fmla="*/ 11 w 119"/>
                <a:gd name="T35" fmla="*/ 4 h 57"/>
                <a:gd name="T36" fmla="*/ 11 w 119"/>
                <a:gd name="T37" fmla="*/ 3 h 57"/>
                <a:gd name="T38" fmla="*/ 12 w 119"/>
                <a:gd name="T39" fmla="*/ 1 h 57"/>
                <a:gd name="T40" fmla="*/ 12 w 119"/>
                <a:gd name="T41" fmla="*/ 0 h 57"/>
                <a:gd name="T42" fmla="*/ 10 w 119"/>
                <a:gd name="T43" fmla="*/ 0 h 57"/>
                <a:gd name="T44" fmla="*/ 8 w 119"/>
                <a:gd name="T45" fmla="*/ 0 h 57"/>
                <a:gd name="T46" fmla="*/ 6 w 119"/>
                <a:gd name="T47" fmla="*/ 0 h 57"/>
                <a:gd name="T48" fmla="*/ 4 w 119"/>
                <a:gd name="T49" fmla="*/ 1 h 57"/>
                <a:gd name="T50" fmla="*/ 4 w 119"/>
                <a:gd name="T51" fmla="*/ 1 h 57"/>
                <a:gd name="T52" fmla="*/ 3 w 119"/>
                <a:gd name="T53" fmla="*/ 1 h 57"/>
                <a:gd name="T54" fmla="*/ 2 w 119"/>
                <a:gd name="T55" fmla="*/ 1 h 57"/>
                <a:gd name="T56" fmla="*/ 2 w 119"/>
                <a:gd name="T57" fmla="*/ 2 h 57"/>
                <a:gd name="T58" fmla="*/ 1 w 119"/>
                <a:gd name="T59" fmla="*/ 2 h 57"/>
                <a:gd name="T60" fmla="*/ 1 w 119"/>
                <a:gd name="T61" fmla="*/ 3 h 57"/>
                <a:gd name="T62" fmla="*/ 0 w 119"/>
                <a:gd name="T63" fmla="*/ 3 h 57"/>
                <a:gd name="T64" fmla="*/ 0 w 119"/>
                <a:gd name="T65" fmla="*/ 4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 h 52"/>
                <a:gd name="T2" fmla="*/ 1 w 107"/>
                <a:gd name="T3" fmla="*/ 6 h 52"/>
                <a:gd name="T4" fmla="*/ 1 w 107"/>
                <a:gd name="T5" fmla="*/ 6 h 52"/>
                <a:gd name="T6" fmla="*/ 1 w 107"/>
                <a:gd name="T7" fmla="*/ 6 h 52"/>
                <a:gd name="T8" fmla="*/ 2 w 107"/>
                <a:gd name="T9" fmla="*/ 6 h 52"/>
                <a:gd name="T10" fmla="*/ 3 w 107"/>
                <a:gd name="T11" fmla="*/ 5 h 52"/>
                <a:gd name="T12" fmla="*/ 3 w 107"/>
                <a:gd name="T13" fmla="*/ 5 h 52"/>
                <a:gd name="T14" fmla="*/ 4 w 107"/>
                <a:gd name="T15" fmla="*/ 5 h 52"/>
                <a:gd name="T16" fmla="*/ 5 w 107"/>
                <a:gd name="T17" fmla="*/ 5 h 52"/>
                <a:gd name="T18" fmla="*/ 6 w 107"/>
                <a:gd name="T19" fmla="*/ 5 h 52"/>
                <a:gd name="T20" fmla="*/ 7 w 107"/>
                <a:gd name="T21" fmla="*/ 5 h 52"/>
                <a:gd name="T22" fmla="*/ 8 w 107"/>
                <a:gd name="T23" fmla="*/ 4 h 52"/>
                <a:gd name="T24" fmla="*/ 9 w 107"/>
                <a:gd name="T25" fmla="*/ 4 h 52"/>
                <a:gd name="T26" fmla="*/ 10 w 107"/>
                <a:gd name="T27" fmla="*/ 3 h 52"/>
                <a:gd name="T28" fmla="*/ 11 w 107"/>
                <a:gd name="T29" fmla="*/ 3 h 52"/>
                <a:gd name="T30" fmla="*/ 11 w 107"/>
                <a:gd name="T31" fmla="*/ 0 h 52"/>
                <a:gd name="T32" fmla="*/ 10 w 107"/>
                <a:gd name="T33" fmla="*/ 0 h 52"/>
                <a:gd name="T34" fmla="*/ 9 w 107"/>
                <a:gd name="T35" fmla="*/ 0 h 52"/>
                <a:gd name="T36" fmla="*/ 7 w 107"/>
                <a:gd name="T37" fmla="*/ 1 h 52"/>
                <a:gd name="T38" fmla="*/ 6 w 107"/>
                <a:gd name="T39" fmla="*/ 1 h 52"/>
                <a:gd name="T40" fmla="*/ 4 w 107"/>
                <a:gd name="T41" fmla="*/ 2 h 52"/>
                <a:gd name="T42" fmla="*/ 3 w 107"/>
                <a:gd name="T43" fmla="*/ 3 h 52"/>
                <a:gd name="T44" fmla="*/ 2 w 107"/>
                <a:gd name="T45" fmla="*/ 4 h 52"/>
                <a:gd name="T46" fmla="*/ 1 w 107"/>
                <a:gd name="T47" fmla="*/ 4 h 52"/>
                <a:gd name="T48" fmla="*/ 1 w 107"/>
                <a:gd name="T49" fmla="*/ 5 h 52"/>
                <a:gd name="T50" fmla="*/ 0 w 107"/>
                <a:gd name="T51" fmla="*/ 5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3 w 246"/>
                <a:gd name="T1" fmla="*/ 10 h 99"/>
                <a:gd name="T2" fmla="*/ 2 w 246"/>
                <a:gd name="T3" fmla="*/ 10 h 99"/>
                <a:gd name="T4" fmla="*/ 2 w 246"/>
                <a:gd name="T5" fmla="*/ 10 h 99"/>
                <a:gd name="T6" fmla="*/ 1 w 246"/>
                <a:gd name="T7" fmla="*/ 10 h 99"/>
                <a:gd name="T8" fmla="*/ 1 w 246"/>
                <a:gd name="T9" fmla="*/ 9 h 99"/>
                <a:gd name="T10" fmla="*/ 1 w 246"/>
                <a:gd name="T11" fmla="*/ 9 h 99"/>
                <a:gd name="T12" fmla="*/ 0 w 246"/>
                <a:gd name="T13" fmla="*/ 9 h 99"/>
                <a:gd name="T14" fmla="*/ 0 w 246"/>
                <a:gd name="T15" fmla="*/ 8 h 99"/>
                <a:gd name="T16" fmla="*/ 0 w 246"/>
                <a:gd name="T17" fmla="*/ 8 h 99"/>
                <a:gd name="T18" fmla="*/ 0 w 246"/>
                <a:gd name="T19" fmla="*/ 7 h 99"/>
                <a:gd name="T20" fmla="*/ 0 w 246"/>
                <a:gd name="T21" fmla="*/ 7 h 99"/>
                <a:gd name="T22" fmla="*/ 0 w 246"/>
                <a:gd name="T23" fmla="*/ 6 h 99"/>
                <a:gd name="T24" fmla="*/ 1 w 246"/>
                <a:gd name="T25" fmla="*/ 6 h 99"/>
                <a:gd name="T26" fmla="*/ 1 w 246"/>
                <a:gd name="T27" fmla="*/ 5 h 99"/>
                <a:gd name="T28" fmla="*/ 2 w 246"/>
                <a:gd name="T29" fmla="*/ 4 h 99"/>
                <a:gd name="T30" fmla="*/ 3 w 246"/>
                <a:gd name="T31" fmla="*/ 4 h 99"/>
                <a:gd name="T32" fmla="*/ 4 w 246"/>
                <a:gd name="T33" fmla="*/ 3 h 99"/>
                <a:gd name="T34" fmla="*/ 5 w 246"/>
                <a:gd name="T35" fmla="*/ 2 h 99"/>
                <a:gd name="T36" fmla="*/ 6 w 246"/>
                <a:gd name="T37" fmla="*/ 2 h 99"/>
                <a:gd name="T38" fmla="*/ 7 w 246"/>
                <a:gd name="T39" fmla="*/ 2 h 99"/>
                <a:gd name="T40" fmla="*/ 8 w 246"/>
                <a:gd name="T41" fmla="*/ 1 h 99"/>
                <a:gd name="T42" fmla="*/ 10 w 246"/>
                <a:gd name="T43" fmla="*/ 1 h 99"/>
                <a:gd name="T44" fmla="*/ 11 w 246"/>
                <a:gd name="T45" fmla="*/ 0 h 99"/>
                <a:gd name="T46" fmla="*/ 13 w 246"/>
                <a:gd name="T47" fmla="*/ 0 h 99"/>
                <a:gd name="T48" fmla="*/ 14 w 246"/>
                <a:gd name="T49" fmla="*/ 0 h 99"/>
                <a:gd name="T50" fmla="*/ 17 w 246"/>
                <a:gd name="T51" fmla="*/ 0 h 99"/>
                <a:gd name="T52" fmla="*/ 20 w 246"/>
                <a:gd name="T53" fmla="*/ 0 h 99"/>
                <a:gd name="T54" fmla="*/ 22 w 246"/>
                <a:gd name="T55" fmla="*/ 0 h 99"/>
                <a:gd name="T56" fmla="*/ 25 w 246"/>
                <a:gd name="T57" fmla="*/ 1 h 99"/>
                <a:gd name="T58" fmla="*/ 25 w 246"/>
                <a:gd name="T59" fmla="*/ 1 h 99"/>
                <a:gd name="T60" fmla="*/ 25 w 246"/>
                <a:gd name="T61" fmla="*/ 2 h 99"/>
                <a:gd name="T62" fmla="*/ 24 w 246"/>
                <a:gd name="T63" fmla="*/ 2 h 99"/>
                <a:gd name="T64" fmla="*/ 24 w 246"/>
                <a:gd name="T65" fmla="*/ 3 h 99"/>
                <a:gd name="T66" fmla="*/ 22 w 246"/>
                <a:gd name="T67" fmla="*/ 4 h 99"/>
                <a:gd name="T68" fmla="*/ 21 w 246"/>
                <a:gd name="T69" fmla="*/ 5 h 99"/>
                <a:gd name="T70" fmla="*/ 19 w 246"/>
                <a:gd name="T71" fmla="*/ 6 h 99"/>
                <a:gd name="T72" fmla="*/ 17 w 246"/>
                <a:gd name="T73" fmla="*/ 6 h 99"/>
                <a:gd name="T74" fmla="*/ 16 w 246"/>
                <a:gd name="T75" fmla="*/ 7 h 99"/>
                <a:gd name="T76" fmla="*/ 15 w 246"/>
                <a:gd name="T77" fmla="*/ 7 h 99"/>
                <a:gd name="T78" fmla="*/ 14 w 246"/>
                <a:gd name="T79" fmla="*/ 7 h 99"/>
                <a:gd name="T80" fmla="*/ 13 w 246"/>
                <a:gd name="T81" fmla="*/ 7 h 99"/>
                <a:gd name="T82" fmla="*/ 13 w 246"/>
                <a:gd name="T83" fmla="*/ 7 h 99"/>
                <a:gd name="T84" fmla="*/ 11 w 246"/>
                <a:gd name="T85" fmla="*/ 7 h 99"/>
                <a:gd name="T86" fmla="*/ 10 w 246"/>
                <a:gd name="T87" fmla="*/ 7 h 99"/>
                <a:gd name="T88" fmla="*/ 10 w 246"/>
                <a:gd name="T89" fmla="*/ 7 h 99"/>
                <a:gd name="T90" fmla="*/ 9 w 246"/>
                <a:gd name="T91" fmla="*/ 7 h 99"/>
                <a:gd name="T92" fmla="*/ 8 w 246"/>
                <a:gd name="T93" fmla="*/ 7 h 99"/>
                <a:gd name="T94" fmla="*/ 7 w 246"/>
                <a:gd name="T95" fmla="*/ 8 h 99"/>
                <a:gd name="T96" fmla="*/ 6 w 246"/>
                <a:gd name="T97" fmla="*/ 9 h 99"/>
                <a:gd name="T98" fmla="*/ 5 w 246"/>
                <a:gd name="T99" fmla="*/ 9 h 99"/>
                <a:gd name="T100" fmla="*/ 4 w 246"/>
                <a:gd name="T101" fmla="*/ 10 h 99"/>
                <a:gd name="T102" fmla="*/ 4 w 246"/>
                <a:gd name="T103" fmla="*/ 10 h 99"/>
                <a:gd name="T104" fmla="*/ 3 w 246"/>
                <a:gd name="T105" fmla="*/ 1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4 w 233"/>
                <a:gd name="T1" fmla="*/ 9 h 123"/>
                <a:gd name="T2" fmla="*/ 1 w 233"/>
                <a:gd name="T3" fmla="*/ 8 h 123"/>
                <a:gd name="T4" fmla="*/ 0 w 233"/>
                <a:gd name="T5" fmla="*/ 6 h 123"/>
                <a:gd name="T6" fmla="*/ 2 w 233"/>
                <a:gd name="T7" fmla="*/ 4 h 123"/>
                <a:gd name="T8" fmla="*/ 4 w 233"/>
                <a:gd name="T9" fmla="*/ 4 h 123"/>
                <a:gd name="T10" fmla="*/ 7 w 233"/>
                <a:gd name="T11" fmla="*/ 4 h 123"/>
                <a:gd name="T12" fmla="*/ 8 w 233"/>
                <a:gd name="T13" fmla="*/ 4 h 123"/>
                <a:gd name="T14" fmla="*/ 9 w 233"/>
                <a:gd name="T15" fmla="*/ 4 h 123"/>
                <a:gd name="T16" fmla="*/ 11 w 233"/>
                <a:gd name="T17" fmla="*/ 2 h 123"/>
                <a:gd name="T18" fmla="*/ 13 w 233"/>
                <a:gd name="T19" fmla="*/ 1 h 123"/>
                <a:gd name="T20" fmla="*/ 16 w 233"/>
                <a:gd name="T21" fmla="*/ 0 h 123"/>
                <a:gd name="T22" fmla="*/ 17 w 233"/>
                <a:gd name="T23" fmla="*/ 1 h 123"/>
                <a:gd name="T24" fmla="*/ 19 w 233"/>
                <a:gd name="T25" fmla="*/ 1 h 123"/>
                <a:gd name="T26" fmla="*/ 20 w 233"/>
                <a:gd name="T27" fmla="*/ 1 h 123"/>
                <a:gd name="T28" fmla="*/ 22 w 233"/>
                <a:gd name="T29" fmla="*/ 1 h 123"/>
                <a:gd name="T30" fmla="*/ 23 w 233"/>
                <a:gd name="T31" fmla="*/ 0 h 123"/>
                <a:gd name="T32" fmla="*/ 25 w 233"/>
                <a:gd name="T33" fmla="*/ 1 h 123"/>
                <a:gd name="T34" fmla="*/ 24 w 233"/>
                <a:gd name="T35" fmla="*/ 2 h 123"/>
                <a:gd name="T36" fmla="*/ 23 w 233"/>
                <a:gd name="T37" fmla="*/ 3 h 123"/>
                <a:gd name="T38" fmla="*/ 22 w 233"/>
                <a:gd name="T39" fmla="*/ 3 h 123"/>
                <a:gd name="T40" fmla="*/ 22 w 233"/>
                <a:gd name="T41" fmla="*/ 5 h 123"/>
                <a:gd name="T42" fmla="*/ 22 w 233"/>
                <a:gd name="T43" fmla="*/ 7 h 123"/>
                <a:gd name="T44" fmla="*/ 20 w 233"/>
                <a:gd name="T45" fmla="*/ 9 h 123"/>
                <a:gd name="T46" fmla="*/ 17 w 233"/>
                <a:gd name="T47" fmla="*/ 10 h 123"/>
                <a:gd name="T48" fmla="*/ 15 w 233"/>
                <a:gd name="T49" fmla="*/ 10 h 123"/>
                <a:gd name="T50" fmla="*/ 12 w 233"/>
                <a:gd name="T51" fmla="*/ 11 h 123"/>
                <a:gd name="T52" fmla="*/ 10 w 233"/>
                <a:gd name="T53" fmla="*/ 11 h 123"/>
                <a:gd name="T54" fmla="*/ 9 w 233"/>
                <a:gd name="T55" fmla="*/ 12 h 123"/>
                <a:gd name="T56" fmla="*/ 7 w 233"/>
                <a:gd name="T57" fmla="*/ 13 h 123"/>
                <a:gd name="T58" fmla="*/ 6 w 233"/>
                <a:gd name="T59" fmla="*/ 13 h 123"/>
                <a:gd name="T60" fmla="*/ 6 w 233"/>
                <a:gd name="T61" fmla="*/ 12 h 123"/>
                <a:gd name="T62" fmla="*/ 5 w 233"/>
                <a:gd name="T63" fmla="*/ 1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6 h 172"/>
                <a:gd name="T2" fmla="*/ 0 w 484"/>
                <a:gd name="T3" fmla="*/ 17 h 172"/>
                <a:gd name="T4" fmla="*/ 1 w 484"/>
                <a:gd name="T5" fmla="*/ 17 h 172"/>
                <a:gd name="T6" fmla="*/ 2 w 484"/>
                <a:gd name="T7" fmla="*/ 18 h 172"/>
                <a:gd name="T8" fmla="*/ 3 w 484"/>
                <a:gd name="T9" fmla="*/ 18 h 172"/>
                <a:gd name="T10" fmla="*/ 6 w 484"/>
                <a:gd name="T11" fmla="*/ 18 h 172"/>
                <a:gd name="T12" fmla="*/ 8 w 484"/>
                <a:gd name="T13" fmla="*/ 18 h 172"/>
                <a:gd name="T14" fmla="*/ 10 w 484"/>
                <a:gd name="T15" fmla="*/ 18 h 172"/>
                <a:gd name="T16" fmla="*/ 15 w 484"/>
                <a:gd name="T17" fmla="*/ 17 h 172"/>
                <a:gd name="T18" fmla="*/ 20 w 484"/>
                <a:gd name="T19" fmla="*/ 14 h 172"/>
                <a:gd name="T20" fmla="*/ 25 w 484"/>
                <a:gd name="T21" fmla="*/ 12 h 172"/>
                <a:gd name="T22" fmla="*/ 30 w 484"/>
                <a:gd name="T23" fmla="*/ 11 h 172"/>
                <a:gd name="T24" fmla="*/ 37 w 484"/>
                <a:gd name="T25" fmla="*/ 9 h 172"/>
                <a:gd name="T26" fmla="*/ 42 w 484"/>
                <a:gd name="T27" fmla="*/ 8 h 172"/>
                <a:gd name="T28" fmla="*/ 46 w 484"/>
                <a:gd name="T29" fmla="*/ 7 h 172"/>
                <a:gd name="T30" fmla="*/ 49 w 484"/>
                <a:gd name="T31" fmla="*/ 6 h 172"/>
                <a:gd name="T32" fmla="*/ 50 w 484"/>
                <a:gd name="T33" fmla="*/ 5 h 172"/>
                <a:gd name="T34" fmla="*/ 51 w 484"/>
                <a:gd name="T35" fmla="*/ 4 h 172"/>
                <a:gd name="T36" fmla="*/ 47 w 484"/>
                <a:gd name="T37" fmla="*/ 3 h 172"/>
                <a:gd name="T38" fmla="*/ 41 w 484"/>
                <a:gd name="T39" fmla="*/ 2 h 172"/>
                <a:gd name="T40" fmla="*/ 35 w 484"/>
                <a:gd name="T41" fmla="*/ 1 h 172"/>
                <a:gd name="T42" fmla="*/ 29 w 484"/>
                <a:gd name="T43" fmla="*/ 0 h 172"/>
                <a:gd name="T44" fmla="*/ 24 w 484"/>
                <a:gd name="T45" fmla="*/ 0 h 172"/>
                <a:gd name="T46" fmla="*/ 21 w 484"/>
                <a:gd name="T47" fmla="*/ 0 h 172"/>
                <a:gd name="T48" fmla="*/ 19 w 484"/>
                <a:gd name="T49" fmla="*/ 1 h 172"/>
                <a:gd name="T50" fmla="*/ 18 w 484"/>
                <a:gd name="T51" fmla="*/ 1 h 172"/>
                <a:gd name="T52" fmla="*/ 18 w 484"/>
                <a:gd name="T53" fmla="*/ 0 h 172"/>
                <a:gd name="T54" fmla="*/ 18 w 484"/>
                <a:gd name="T55" fmla="*/ 1 h 172"/>
                <a:gd name="T56" fmla="*/ 17 w 484"/>
                <a:gd name="T57" fmla="*/ 3 h 172"/>
                <a:gd name="T58" fmla="*/ 16 w 484"/>
                <a:gd name="T59" fmla="*/ 4 h 172"/>
                <a:gd name="T60" fmla="*/ 15 w 484"/>
                <a:gd name="T61" fmla="*/ 5 h 172"/>
                <a:gd name="T62" fmla="*/ 13 w 484"/>
                <a:gd name="T63" fmla="*/ 6 h 172"/>
                <a:gd name="T64" fmla="*/ 10 w 484"/>
                <a:gd name="T65" fmla="*/ 7 h 172"/>
                <a:gd name="T66" fmla="*/ 7 w 484"/>
                <a:gd name="T67" fmla="*/ 8 h 172"/>
                <a:gd name="T68" fmla="*/ 4 w 484"/>
                <a:gd name="T69" fmla="*/ 9 h 172"/>
                <a:gd name="T70" fmla="*/ 2 w 484"/>
                <a:gd name="T71" fmla="*/ 10 h 172"/>
                <a:gd name="T72" fmla="*/ 1 w 484"/>
                <a:gd name="T73" fmla="*/ 11 h 172"/>
                <a:gd name="T74" fmla="*/ 0 w 484"/>
                <a:gd name="T75" fmla="*/ 13 h 172"/>
                <a:gd name="T76" fmla="*/ 0 w 484"/>
                <a:gd name="T77" fmla="*/ 1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3 w 684"/>
                <a:gd name="T1" fmla="*/ 1 h 240"/>
                <a:gd name="T2" fmla="*/ 32 w 684"/>
                <a:gd name="T3" fmla="*/ 3 h 240"/>
                <a:gd name="T4" fmla="*/ 31 w 684"/>
                <a:gd name="T5" fmla="*/ 4 h 240"/>
                <a:gd name="T6" fmla="*/ 31 w 684"/>
                <a:gd name="T7" fmla="*/ 5 h 240"/>
                <a:gd name="T8" fmla="*/ 35 w 684"/>
                <a:gd name="T9" fmla="*/ 4 h 240"/>
                <a:gd name="T10" fmla="*/ 39 w 684"/>
                <a:gd name="T11" fmla="*/ 2 h 240"/>
                <a:gd name="T12" fmla="*/ 39 w 684"/>
                <a:gd name="T13" fmla="*/ 4 h 240"/>
                <a:gd name="T14" fmla="*/ 39 w 684"/>
                <a:gd name="T15" fmla="*/ 6 h 240"/>
                <a:gd name="T16" fmla="*/ 42 w 684"/>
                <a:gd name="T17" fmla="*/ 8 h 240"/>
                <a:gd name="T18" fmla="*/ 53 w 684"/>
                <a:gd name="T19" fmla="*/ 6 h 240"/>
                <a:gd name="T20" fmla="*/ 54 w 684"/>
                <a:gd name="T21" fmla="*/ 8 h 240"/>
                <a:gd name="T22" fmla="*/ 57 w 684"/>
                <a:gd name="T23" fmla="*/ 7 h 240"/>
                <a:gd name="T24" fmla="*/ 58 w 684"/>
                <a:gd name="T25" fmla="*/ 5 h 240"/>
                <a:gd name="T26" fmla="*/ 58 w 684"/>
                <a:gd name="T27" fmla="*/ 2 h 240"/>
                <a:gd name="T28" fmla="*/ 59 w 684"/>
                <a:gd name="T29" fmla="*/ 1 h 240"/>
                <a:gd name="T30" fmla="*/ 60 w 684"/>
                <a:gd name="T31" fmla="*/ 0 h 240"/>
                <a:gd name="T32" fmla="*/ 65 w 684"/>
                <a:gd name="T33" fmla="*/ 0 h 240"/>
                <a:gd name="T34" fmla="*/ 67 w 684"/>
                <a:gd name="T35" fmla="*/ 0 h 240"/>
                <a:gd name="T36" fmla="*/ 68 w 684"/>
                <a:gd name="T37" fmla="*/ 4 h 240"/>
                <a:gd name="T38" fmla="*/ 68 w 684"/>
                <a:gd name="T39" fmla="*/ 8 h 240"/>
                <a:gd name="T40" fmla="*/ 67 w 684"/>
                <a:gd name="T41" fmla="*/ 11 h 240"/>
                <a:gd name="T42" fmla="*/ 65 w 684"/>
                <a:gd name="T43" fmla="*/ 13 h 240"/>
                <a:gd name="T44" fmla="*/ 68 w 684"/>
                <a:gd name="T45" fmla="*/ 15 h 240"/>
                <a:gd name="T46" fmla="*/ 70 w 684"/>
                <a:gd name="T47" fmla="*/ 16 h 240"/>
                <a:gd name="T48" fmla="*/ 71 w 684"/>
                <a:gd name="T49" fmla="*/ 19 h 240"/>
                <a:gd name="T50" fmla="*/ 67 w 684"/>
                <a:gd name="T51" fmla="*/ 20 h 240"/>
                <a:gd name="T52" fmla="*/ 63 w 684"/>
                <a:gd name="T53" fmla="*/ 20 h 240"/>
                <a:gd name="T54" fmla="*/ 60 w 684"/>
                <a:gd name="T55" fmla="*/ 19 h 240"/>
                <a:gd name="T56" fmla="*/ 59 w 684"/>
                <a:gd name="T57" fmla="*/ 20 h 240"/>
                <a:gd name="T58" fmla="*/ 57 w 684"/>
                <a:gd name="T59" fmla="*/ 22 h 240"/>
                <a:gd name="T60" fmla="*/ 55 w 684"/>
                <a:gd name="T61" fmla="*/ 23 h 240"/>
                <a:gd name="T62" fmla="*/ 51 w 684"/>
                <a:gd name="T63" fmla="*/ 23 h 240"/>
                <a:gd name="T64" fmla="*/ 47 w 684"/>
                <a:gd name="T65" fmla="*/ 22 h 240"/>
                <a:gd name="T66" fmla="*/ 44 w 684"/>
                <a:gd name="T67" fmla="*/ 21 h 240"/>
                <a:gd name="T68" fmla="*/ 35 w 684"/>
                <a:gd name="T69" fmla="*/ 23 h 240"/>
                <a:gd name="T70" fmla="*/ 24 w 684"/>
                <a:gd name="T71" fmla="*/ 25 h 240"/>
                <a:gd name="T72" fmla="*/ 18 w 684"/>
                <a:gd name="T73" fmla="*/ 26 h 240"/>
                <a:gd name="T74" fmla="*/ 13 w 684"/>
                <a:gd name="T75" fmla="*/ 26 h 240"/>
                <a:gd name="T76" fmla="*/ 10 w 684"/>
                <a:gd name="T77" fmla="*/ 25 h 240"/>
                <a:gd name="T78" fmla="*/ 7 w 684"/>
                <a:gd name="T79" fmla="*/ 22 h 240"/>
                <a:gd name="T80" fmla="*/ 3 w 684"/>
                <a:gd name="T81" fmla="*/ 21 h 240"/>
                <a:gd name="T82" fmla="*/ 0 w 684"/>
                <a:gd name="T83" fmla="*/ 19 h 240"/>
                <a:gd name="T84" fmla="*/ 7 w 684"/>
                <a:gd name="T85" fmla="*/ 17 h 240"/>
                <a:gd name="T86" fmla="*/ 10 w 684"/>
                <a:gd name="T87" fmla="*/ 17 h 240"/>
                <a:gd name="T88" fmla="*/ 16 w 684"/>
                <a:gd name="T89" fmla="*/ 17 h 240"/>
                <a:gd name="T90" fmla="*/ 21 w 684"/>
                <a:gd name="T91" fmla="*/ 18 h 240"/>
                <a:gd name="T92" fmla="*/ 23 w 684"/>
                <a:gd name="T93" fmla="*/ 17 h 240"/>
                <a:gd name="T94" fmla="*/ 3 w 684"/>
                <a:gd name="T95" fmla="*/ 15 h 240"/>
                <a:gd name="T96" fmla="*/ 5 w 684"/>
                <a:gd name="T97" fmla="*/ 14 h 240"/>
                <a:gd name="T98" fmla="*/ 11 w 684"/>
                <a:gd name="T99" fmla="*/ 13 h 240"/>
                <a:gd name="T100" fmla="*/ 17 w 684"/>
                <a:gd name="T101" fmla="*/ 12 h 240"/>
                <a:gd name="T102" fmla="*/ 19 w 684"/>
                <a:gd name="T103" fmla="*/ 11 h 240"/>
                <a:gd name="T104" fmla="*/ 17 w 684"/>
                <a:gd name="T105" fmla="*/ 10 h 240"/>
                <a:gd name="T106" fmla="*/ 13 w 684"/>
                <a:gd name="T107" fmla="*/ 11 h 240"/>
                <a:gd name="T108" fmla="*/ 7 w 684"/>
                <a:gd name="T109" fmla="*/ 12 h 240"/>
                <a:gd name="T110" fmla="*/ 5 w 684"/>
                <a:gd name="T111" fmla="*/ 12 h 240"/>
                <a:gd name="T112" fmla="*/ 6 w 684"/>
                <a:gd name="T113" fmla="*/ 10 h 240"/>
                <a:gd name="T114" fmla="*/ 5 w 684"/>
                <a:gd name="T115" fmla="*/ 9 h 240"/>
                <a:gd name="T116" fmla="*/ 6 w 684"/>
                <a:gd name="T117" fmla="*/ 9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9 w 332"/>
                <a:gd name="T1" fmla="*/ 4 h 287"/>
                <a:gd name="T2" fmla="*/ 21 w 332"/>
                <a:gd name="T3" fmla="*/ 3 h 287"/>
                <a:gd name="T4" fmla="*/ 24 w 332"/>
                <a:gd name="T5" fmla="*/ 1 h 287"/>
                <a:gd name="T6" fmla="*/ 25 w 332"/>
                <a:gd name="T7" fmla="*/ 0 h 287"/>
                <a:gd name="T8" fmla="*/ 26 w 332"/>
                <a:gd name="T9" fmla="*/ 0 h 287"/>
                <a:gd name="T10" fmla="*/ 26 w 332"/>
                <a:gd name="T11" fmla="*/ 1 h 287"/>
                <a:gd name="T12" fmla="*/ 25 w 332"/>
                <a:gd name="T13" fmla="*/ 4 h 287"/>
                <a:gd name="T14" fmla="*/ 23 w 332"/>
                <a:gd name="T15" fmla="*/ 6 h 287"/>
                <a:gd name="T16" fmla="*/ 21 w 332"/>
                <a:gd name="T17" fmla="*/ 7 h 287"/>
                <a:gd name="T18" fmla="*/ 20 w 332"/>
                <a:gd name="T19" fmla="*/ 7 h 287"/>
                <a:gd name="T20" fmla="*/ 20 w 332"/>
                <a:gd name="T21" fmla="*/ 8 h 287"/>
                <a:gd name="T22" fmla="*/ 21 w 332"/>
                <a:gd name="T23" fmla="*/ 8 h 287"/>
                <a:gd name="T24" fmla="*/ 23 w 332"/>
                <a:gd name="T25" fmla="*/ 7 h 287"/>
                <a:gd name="T26" fmla="*/ 24 w 332"/>
                <a:gd name="T27" fmla="*/ 8 h 287"/>
                <a:gd name="T28" fmla="*/ 23 w 332"/>
                <a:gd name="T29" fmla="*/ 9 h 287"/>
                <a:gd name="T30" fmla="*/ 23 w 332"/>
                <a:gd name="T31" fmla="*/ 10 h 287"/>
                <a:gd name="T32" fmla="*/ 23 w 332"/>
                <a:gd name="T33" fmla="*/ 11 h 287"/>
                <a:gd name="T34" fmla="*/ 26 w 332"/>
                <a:gd name="T35" fmla="*/ 12 h 287"/>
                <a:gd name="T36" fmla="*/ 33 w 332"/>
                <a:gd name="T37" fmla="*/ 13 h 287"/>
                <a:gd name="T38" fmla="*/ 34 w 332"/>
                <a:gd name="T39" fmla="*/ 14 h 287"/>
                <a:gd name="T40" fmla="*/ 33 w 332"/>
                <a:gd name="T41" fmla="*/ 15 h 287"/>
                <a:gd name="T42" fmla="*/ 32 w 332"/>
                <a:gd name="T43" fmla="*/ 16 h 287"/>
                <a:gd name="T44" fmla="*/ 32 w 332"/>
                <a:gd name="T45" fmla="*/ 16 h 287"/>
                <a:gd name="T46" fmla="*/ 32 w 332"/>
                <a:gd name="T47" fmla="*/ 17 h 287"/>
                <a:gd name="T48" fmla="*/ 33 w 332"/>
                <a:gd name="T49" fmla="*/ 17 h 287"/>
                <a:gd name="T50" fmla="*/ 34 w 332"/>
                <a:gd name="T51" fmla="*/ 18 h 287"/>
                <a:gd name="T52" fmla="*/ 35 w 332"/>
                <a:gd name="T53" fmla="*/ 19 h 287"/>
                <a:gd name="T54" fmla="*/ 31 w 332"/>
                <a:gd name="T55" fmla="*/ 22 h 287"/>
                <a:gd name="T56" fmla="*/ 25 w 332"/>
                <a:gd name="T57" fmla="*/ 25 h 287"/>
                <a:gd name="T58" fmla="*/ 22 w 332"/>
                <a:gd name="T59" fmla="*/ 28 h 287"/>
                <a:gd name="T60" fmla="*/ 18 w 332"/>
                <a:gd name="T61" fmla="*/ 26 h 287"/>
                <a:gd name="T62" fmla="*/ 19 w 332"/>
                <a:gd name="T63" fmla="*/ 26 h 287"/>
                <a:gd name="T64" fmla="*/ 20 w 332"/>
                <a:gd name="T65" fmla="*/ 25 h 287"/>
                <a:gd name="T66" fmla="*/ 21 w 332"/>
                <a:gd name="T67" fmla="*/ 24 h 287"/>
                <a:gd name="T68" fmla="*/ 16 w 332"/>
                <a:gd name="T69" fmla="*/ 24 h 287"/>
                <a:gd name="T70" fmla="*/ 11 w 332"/>
                <a:gd name="T71" fmla="*/ 24 h 287"/>
                <a:gd name="T72" fmla="*/ 6 w 332"/>
                <a:gd name="T73" fmla="*/ 24 h 287"/>
                <a:gd name="T74" fmla="*/ 3 w 332"/>
                <a:gd name="T75" fmla="*/ 24 h 287"/>
                <a:gd name="T76" fmla="*/ 1 w 332"/>
                <a:gd name="T77" fmla="*/ 24 h 287"/>
                <a:gd name="T78" fmla="*/ 0 w 332"/>
                <a:gd name="T79" fmla="*/ 23 h 287"/>
                <a:gd name="T80" fmla="*/ 0 w 332"/>
                <a:gd name="T81" fmla="*/ 22 h 287"/>
                <a:gd name="T82" fmla="*/ 0 w 332"/>
                <a:gd name="T83" fmla="*/ 21 h 287"/>
                <a:gd name="T84" fmla="*/ 1 w 332"/>
                <a:gd name="T85" fmla="*/ 21 h 287"/>
                <a:gd name="T86" fmla="*/ 4 w 332"/>
                <a:gd name="T87" fmla="*/ 19 h 287"/>
                <a:gd name="T88" fmla="*/ 8 w 332"/>
                <a:gd name="T89" fmla="*/ 17 h 287"/>
                <a:gd name="T90" fmla="*/ 9 w 332"/>
                <a:gd name="T91" fmla="*/ 16 h 287"/>
                <a:gd name="T92" fmla="*/ 10 w 332"/>
                <a:gd name="T93" fmla="*/ 15 h 287"/>
                <a:gd name="T94" fmla="*/ 11 w 332"/>
                <a:gd name="T95" fmla="*/ 14 h 287"/>
                <a:gd name="T96" fmla="*/ 12 w 332"/>
                <a:gd name="T97" fmla="*/ 12 h 287"/>
                <a:gd name="T98" fmla="*/ 14 w 332"/>
                <a:gd name="T99" fmla="*/ 8 h 287"/>
                <a:gd name="T100" fmla="*/ 15 w 332"/>
                <a:gd name="T101" fmla="*/ 7 h 287"/>
                <a:gd name="T102" fmla="*/ 16 w 332"/>
                <a:gd name="T103" fmla="*/ 6 h 287"/>
                <a:gd name="T104" fmla="*/ 17 w 332"/>
                <a:gd name="T105" fmla="*/ 5 h 287"/>
                <a:gd name="T106" fmla="*/ 18 w 332"/>
                <a:gd name="T107" fmla="*/ 4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1 w 345"/>
                <a:gd name="T1" fmla="*/ 8 h 86"/>
                <a:gd name="T2" fmla="*/ 12 w 345"/>
                <a:gd name="T3" fmla="*/ 8 h 86"/>
                <a:gd name="T4" fmla="*/ 14 w 345"/>
                <a:gd name="T5" fmla="*/ 8 h 86"/>
                <a:gd name="T6" fmla="*/ 15 w 345"/>
                <a:gd name="T7" fmla="*/ 7 h 86"/>
                <a:gd name="T8" fmla="*/ 17 w 345"/>
                <a:gd name="T9" fmla="*/ 7 h 86"/>
                <a:gd name="T10" fmla="*/ 20 w 345"/>
                <a:gd name="T11" fmla="*/ 6 h 86"/>
                <a:gd name="T12" fmla="*/ 24 w 345"/>
                <a:gd name="T13" fmla="*/ 6 h 86"/>
                <a:gd name="T14" fmla="*/ 25 w 345"/>
                <a:gd name="T15" fmla="*/ 5 h 86"/>
                <a:gd name="T16" fmla="*/ 27 w 345"/>
                <a:gd name="T17" fmla="*/ 5 h 86"/>
                <a:gd name="T18" fmla="*/ 29 w 345"/>
                <a:gd name="T19" fmla="*/ 4 h 86"/>
                <a:gd name="T20" fmla="*/ 31 w 345"/>
                <a:gd name="T21" fmla="*/ 4 h 86"/>
                <a:gd name="T22" fmla="*/ 32 w 345"/>
                <a:gd name="T23" fmla="*/ 3 h 86"/>
                <a:gd name="T24" fmla="*/ 33 w 345"/>
                <a:gd name="T25" fmla="*/ 3 h 86"/>
                <a:gd name="T26" fmla="*/ 34 w 345"/>
                <a:gd name="T27" fmla="*/ 2 h 86"/>
                <a:gd name="T28" fmla="*/ 36 w 345"/>
                <a:gd name="T29" fmla="*/ 1 h 86"/>
                <a:gd name="T30" fmla="*/ 35 w 345"/>
                <a:gd name="T31" fmla="*/ 1 h 86"/>
                <a:gd name="T32" fmla="*/ 34 w 345"/>
                <a:gd name="T33" fmla="*/ 1 h 86"/>
                <a:gd name="T34" fmla="*/ 33 w 345"/>
                <a:gd name="T35" fmla="*/ 1 h 86"/>
                <a:gd name="T36" fmla="*/ 32 w 345"/>
                <a:gd name="T37" fmla="*/ 1 h 86"/>
                <a:gd name="T38" fmla="*/ 31 w 345"/>
                <a:gd name="T39" fmla="*/ 0 h 86"/>
                <a:gd name="T40" fmla="*/ 30 w 345"/>
                <a:gd name="T41" fmla="*/ 0 h 86"/>
                <a:gd name="T42" fmla="*/ 29 w 345"/>
                <a:gd name="T43" fmla="*/ 0 h 86"/>
                <a:gd name="T44" fmla="*/ 28 w 345"/>
                <a:gd name="T45" fmla="*/ 0 h 86"/>
                <a:gd name="T46" fmla="*/ 27 w 345"/>
                <a:gd name="T47" fmla="*/ 0 h 86"/>
                <a:gd name="T48" fmla="*/ 25 w 345"/>
                <a:gd name="T49" fmla="*/ 0 h 86"/>
                <a:gd name="T50" fmla="*/ 23 w 345"/>
                <a:gd name="T51" fmla="*/ 1 h 86"/>
                <a:gd name="T52" fmla="*/ 22 w 345"/>
                <a:gd name="T53" fmla="*/ 1 h 86"/>
                <a:gd name="T54" fmla="*/ 17 w 345"/>
                <a:gd name="T55" fmla="*/ 2 h 86"/>
                <a:gd name="T56" fmla="*/ 13 w 345"/>
                <a:gd name="T57" fmla="*/ 3 h 86"/>
                <a:gd name="T58" fmla="*/ 11 w 345"/>
                <a:gd name="T59" fmla="*/ 3 h 86"/>
                <a:gd name="T60" fmla="*/ 9 w 345"/>
                <a:gd name="T61" fmla="*/ 4 h 86"/>
                <a:gd name="T62" fmla="*/ 7 w 345"/>
                <a:gd name="T63" fmla="*/ 5 h 86"/>
                <a:gd name="T64" fmla="*/ 5 w 345"/>
                <a:gd name="T65" fmla="*/ 6 h 86"/>
                <a:gd name="T66" fmla="*/ 3 w 345"/>
                <a:gd name="T67" fmla="*/ 6 h 86"/>
                <a:gd name="T68" fmla="*/ 2 w 345"/>
                <a:gd name="T69" fmla="*/ 7 h 86"/>
                <a:gd name="T70" fmla="*/ 1 w 345"/>
                <a:gd name="T71" fmla="*/ 8 h 86"/>
                <a:gd name="T72" fmla="*/ 0 w 345"/>
                <a:gd name="T73" fmla="*/ 8 h 86"/>
                <a:gd name="T74" fmla="*/ 11 w 345"/>
                <a:gd name="T75" fmla="*/ 8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2 w 464"/>
                <a:gd name="T1" fmla="*/ 9 h 130"/>
                <a:gd name="T2" fmla="*/ 8 w 464"/>
                <a:gd name="T3" fmla="*/ 9 h 130"/>
                <a:gd name="T4" fmla="*/ 11 w 464"/>
                <a:gd name="T5" fmla="*/ 9 h 130"/>
                <a:gd name="T6" fmla="*/ 10 w 464"/>
                <a:gd name="T7" fmla="*/ 10 h 130"/>
                <a:gd name="T8" fmla="*/ 8 w 464"/>
                <a:gd name="T9" fmla="*/ 11 h 130"/>
                <a:gd name="T10" fmla="*/ 7 w 464"/>
                <a:gd name="T11" fmla="*/ 12 h 130"/>
                <a:gd name="T12" fmla="*/ 7 w 464"/>
                <a:gd name="T13" fmla="*/ 13 h 130"/>
                <a:gd name="T14" fmla="*/ 8 w 464"/>
                <a:gd name="T15" fmla="*/ 14 h 130"/>
                <a:gd name="T16" fmla="*/ 10 w 464"/>
                <a:gd name="T17" fmla="*/ 14 h 130"/>
                <a:gd name="T18" fmla="*/ 11 w 464"/>
                <a:gd name="T19" fmla="*/ 14 h 130"/>
                <a:gd name="T20" fmla="*/ 13 w 464"/>
                <a:gd name="T21" fmla="*/ 14 h 130"/>
                <a:gd name="T22" fmla="*/ 16 w 464"/>
                <a:gd name="T23" fmla="*/ 13 h 130"/>
                <a:gd name="T24" fmla="*/ 20 w 464"/>
                <a:gd name="T25" fmla="*/ 12 h 130"/>
                <a:gd name="T26" fmla="*/ 23 w 464"/>
                <a:gd name="T27" fmla="*/ 11 h 130"/>
                <a:gd name="T28" fmla="*/ 26 w 464"/>
                <a:gd name="T29" fmla="*/ 11 h 130"/>
                <a:gd name="T30" fmla="*/ 27 w 464"/>
                <a:gd name="T31" fmla="*/ 11 h 130"/>
                <a:gd name="T32" fmla="*/ 31 w 464"/>
                <a:gd name="T33" fmla="*/ 11 h 130"/>
                <a:gd name="T34" fmla="*/ 34 w 464"/>
                <a:gd name="T35" fmla="*/ 11 h 130"/>
                <a:gd name="T36" fmla="*/ 39 w 464"/>
                <a:gd name="T37" fmla="*/ 10 h 130"/>
                <a:gd name="T38" fmla="*/ 43 w 464"/>
                <a:gd name="T39" fmla="*/ 9 h 130"/>
                <a:gd name="T40" fmla="*/ 46 w 464"/>
                <a:gd name="T41" fmla="*/ 7 h 130"/>
                <a:gd name="T42" fmla="*/ 47 w 464"/>
                <a:gd name="T43" fmla="*/ 6 h 130"/>
                <a:gd name="T44" fmla="*/ 45 w 464"/>
                <a:gd name="T45" fmla="*/ 5 h 130"/>
                <a:gd name="T46" fmla="*/ 43 w 464"/>
                <a:gd name="T47" fmla="*/ 5 h 130"/>
                <a:gd name="T48" fmla="*/ 41 w 464"/>
                <a:gd name="T49" fmla="*/ 5 h 130"/>
                <a:gd name="T50" fmla="*/ 42 w 464"/>
                <a:gd name="T51" fmla="*/ 4 h 130"/>
                <a:gd name="T52" fmla="*/ 43 w 464"/>
                <a:gd name="T53" fmla="*/ 2 h 130"/>
                <a:gd name="T54" fmla="*/ 43 w 464"/>
                <a:gd name="T55" fmla="*/ 1 h 130"/>
                <a:gd name="T56" fmla="*/ 39 w 464"/>
                <a:gd name="T57" fmla="*/ 0 h 130"/>
                <a:gd name="T58" fmla="*/ 37 w 464"/>
                <a:gd name="T59" fmla="*/ 2 h 130"/>
                <a:gd name="T60" fmla="*/ 35 w 464"/>
                <a:gd name="T61" fmla="*/ 5 h 130"/>
                <a:gd name="T62" fmla="*/ 33 w 464"/>
                <a:gd name="T63" fmla="*/ 7 h 130"/>
                <a:gd name="T64" fmla="*/ 32 w 464"/>
                <a:gd name="T65" fmla="*/ 7 h 130"/>
                <a:gd name="T66" fmla="*/ 31 w 464"/>
                <a:gd name="T67" fmla="*/ 7 h 130"/>
                <a:gd name="T68" fmla="*/ 29 w 464"/>
                <a:gd name="T69" fmla="*/ 7 h 130"/>
                <a:gd name="T70" fmla="*/ 27 w 464"/>
                <a:gd name="T71" fmla="*/ 7 h 130"/>
                <a:gd name="T72" fmla="*/ 25 w 464"/>
                <a:gd name="T73" fmla="*/ 6 h 130"/>
                <a:gd name="T74" fmla="*/ 21 w 464"/>
                <a:gd name="T75" fmla="*/ 3 h 130"/>
                <a:gd name="T76" fmla="*/ 19 w 464"/>
                <a:gd name="T77" fmla="*/ 3 h 130"/>
                <a:gd name="T78" fmla="*/ 15 w 464"/>
                <a:gd name="T79" fmla="*/ 3 h 130"/>
                <a:gd name="T80" fmla="*/ 12 w 464"/>
                <a:gd name="T81" fmla="*/ 4 h 130"/>
                <a:gd name="T82" fmla="*/ 9 w 464"/>
                <a:gd name="T83" fmla="*/ 5 h 130"/>
                <a:gd name="T84" fmla="*/ 5 w 464"/>
                <a:gd name="T85" fmla="*/ 6 h 130"/>
                <a:gd name="T86" fmla="*/ 3 w 464"/>
                <a:gd name="T87" fmla="*/ 7 h 130"/>
                <a:gd name="T88" fmla="*/ 1 w 464"/>
                <a:gd name="T89" fmla="*/ 8 h 130"/>
                <a:gd name="T90" fmla="*/ 0 w 464"/>
                <a:gd name="T91" fmla="*/ 9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 w 472"/>
                <a:gd name="T1" fmla="*/ 0 h 92"/>
                <a:gd name="T2" fmla="*/ 5 w 472"/>
                <a:gd name="T3" fmla="*/ 0 h 92"/>
                <a:gd name="T4" fmla="*/ 3 w 472"/>
                <a:gd name="T5" fmla="*/ 0 h 92"/>
                <a:gd name="T6" fmla="*/ 1 w 472"/>
                <a:gd name="T7" fmla="*/ 0 h 92"/>
                <a:gd name="T8" fmla="*/ 1 w 472"/>
                <a:gd name="T9" fmla="*/ 1 h 92"/>
                <a:gd name="T10" fmla="*/ 1 w 472"/>
                <a:gd name="T11" fmla="*/ 2 h 92"/>
                <a:gd name="T12" fmla="*/ 1 w 472"/>
                <a:gd name="T13" fmla="*/ 3 h 92"/>
                <a:gd name="T14" fmla="*/ 2 w 472"/>
                <a:gd name="T15" fmla="*/ 4 h 92"/>
                <a:gd name="T16" fmla="*/ 2 w 472"/>
                <a:gd name="T17" fmla="*/ 5 h 92"/>
                <a:gd name="T18" fmla="*/ 0 w 472"/>
                <a:gd name="T19" fmla="*/ 6 h 92"/>
                <a:gd name="T20" fmla="*/ 0 w 472"/>
                <a:gd name="T21" fmla="*/ 6 h 92"/>
                <a:gd name="T22" fmla="*/ 0 w 472"/>
                <a:gd name="T23" fmla="*/ 7 h 92"/>
                <a:gd name="T24" fmla="*/ 2 w 472"/>
                <a:gd name="T25" fmla="*/ 8 h 92"/>
                <a:gd name="T26" fmla="*/ 5 w 472"/>
                <a:gd name="T27" fmla="*/ 9 h 92"/>
                <a:gd name="T28" fmla="*/ 11 w 472"/>
                <a:gd name="T29" fmla="*/ 10 h 92"/>
                <a:gd name="T30" fmla="*/ 18 w 472"/>
                <a:gd name="T31" fmla="*/ 10 h 92"/>
                <a:gd name="T32" fmla="*/ 38 w 472"/>
                <a:gd name="T33" fmla="*/ 10 h 92"/>
                <a:gd name="T34" fmla="*/ 39 w 472"/>
                <a:gd name="T35" fmla="*/ 9 h 92"/>
                <a:gd name="T36" fmla="*/ 41 w 472"/>
                <a:gd name="T37" fmla="*/ 8 h 92"/>
                <a:gd name="T38" fmla="*/ 42 w 472"/>
                <a:gd name="T39" fmla="*/ 8 h 92"/>
                <a:gd name="T40" fmla="*/ 43 w 472"/>
                <a:gd name="T41" fmla="*/ 8 h 92"/>
                <a:gd name="T42" fmla="*/ 46 w 472"/>
                <a:gd name="T43" fmla="*/ 9 h 92"/>
                <a:gd name="T44" fmla="*/ 48 w 472"/>
                <a:gd name="T45" fmla="*/ 9 h 92"/>
                <a:gd name="T46" fmla="*/ 50 w 472"/>
                <a:gd name="T47" fmla="*/ 8 h 92"/>
                <a:gd name="T48" fmla="*/ 49 w 472"/>
                <a:gd name="T49" fmla="*/ 4 h 92"/>
                <a:gd name="T50" fmla="*/ 48 w 472"/>
                <a:gd name="T51" fmla="*/ 3 h 92"/>
                <a:gd name="T52" fmla="*/ 47 w 472"/>
                <a:gd name="T53" fmla="*/ 2 h 92"/>
                <a:gd name="T54" fmla="*/ 45 w 472"/>
                <a:gd name="T55" fmla="*/ 1 h 92"/>
                <a:gd name="T56" fmla="*/ 44 w 472"/>
                <a:gd name="T57" fmla="*/ 1 h 92"/>
                <a:gd name="T58" fmla="*/ 41 w 472"/>
                <a:gd name="T59" fmla="*/ 2 h 92"/>
                <a:gd name="T60" fmla="*/ 39 w 472"/>
                <a:gd name="T61" fmla="*/ 2 h 92"/>
                <a:gd name="T62" fmla="*/ 34 w 472"/>
                <a:gd name="T63" fmla="*/ 4 h 92"/>
                <a:gd name="T64" fmla="*/ 31 w 472"/>
                <a:gd name="T65" fmla="*/ 4 h 92"/>
                <a:gd name="T66" fmla="*/ 29 w 472"/>
                <a:gd name="T67" fmla="*/ 5 h 92"/>
                <a:gd name="T68" fmla="*/ 25 w 472"/>
                <a:gd name="T69" fmla="*/ 5 h 92"/>
                <a:gd name="T70" fmla="*/ 20 w 472"/>
                <a:gd name="T71" fmla="*/ 5 h 92"/>
                <a:gd name="T72" fmla="*/ 17 w 472"/>
                <a:gd name="T73" fmla="*/ 5 h 92"/>
                <a:gd name="T74" fmla="*/ 13 w 472"/>
                <a:gd name="T75" fmla="*/ 5 h 92"/>
                <a:gd name="T76" fmla="*/ 9 w 472"/>
                <a:gd name="T77" fmla="*/ 5 h 92"/>
                <a:gd name="T78" fmla="*/ 8 w 472"/>
                <a:gd name="T79" fmla="*/ 4 h 92"/>
                <a:gd name="T80" fmla="*/ 7 w 472"/>
                <a:gd name="T81" fmla="*/ 3 h 92"/>
                <a:gd name="T82" fmla="*/ 7 w 472"/>
                <a:gd name="T83" fmla="*/ 2 h 92"/>
                <a:gd name="T84" fmla="*/ 7 w 472"/>
                <a:gd name="T85" fmla="*/ 1 h 92"/>
                <a:gd name="T86" fmla="*/ 8 w 472"/>
                <a:gd name="T87" fmla="*/ 0 h 92"/>
                <a:gd name="T88" fmla="*/ 8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5 w 326"/>
                <a:gd name="T1" fmla="*/ 12 h 135"/>
                <a:gd name="T2" fmla="*/ 21 w 326"/>
                <a:gd name="T3" fmla="*/ 11 h 135"/>
                <a:gd name="T4" fmla="*/ 28 w 326"/>
                <a:gd name="T5" fmla="*/ 9 h 135"/>
                <a:gd name="T6" fmla="*/ 32 w 326"/>
                <a:gd name="T7" fmla="*/ 8 h 135"/>
                <a:gd name="T8" fmla="*/ 33 w 326"/>
                <a:gd name="T9" fmla="*/ 7 h 135"/>
                <a:gd name="T10" fmla="*/ 34 w 326"/>
                <a:gd name="T11" fmla="*/ 6 h 135"/>
                <a:gd name="T12" fmla="*/ 33 w 326"/>
                <a:gd name="T13" fmla="*/ 5 h 135"/>
                <a:gd name="T14" fmla="*/ 32 w 326"/>
                <a:gd name="T15" fmla="*/ 5 h 135"/>
                <a:gd name="T16" fmla="*/ 30 w 326"/>
                <a:gd name="T17" fmla="*/ 4 h 135"/>
                <a:gd name="T18" fmla="*/ 28 w 326"/>
                <a:gd name="T19" fmla="*/ 4 h 135"/>
                <a:gd name="T20" fmla="*/ 24 w 326"/>
                <a:gd name="T21" fmla="*/ 3 h 135"/>
                <a:gd name="T22" fmla="*/ 22 w 326"/>
                <a:gd name="T23" fmla="*/ 3 h 135"/>
                <a:gd name="T24" fmla="*/ 21 w 326"/>
                <a:gd name="T25" fmla="*/ 3 h 135"/>
                <a:gd name="T26" fmla="*/ 21 w 326"/>
                <a:gd name="T27" fmla="*/ 2 h 135"/>
                <a:gd name="T28" fmla="*/ 20 w 326"/>
                <a:gd name="T29" fmla="*/ 1 h 135"/>
                <a:gd name="T30" fmla="*/ 19 w 326"/>
                <a:gd name="T31" fmla="*/ 1 h 135"/>
                <a:gd name="T32" fmla="*/ 17 w 326"/>
                <a:gd name="T33" fmla="*/ 0 h 135"/>
                <a:gd name="T34" fmla="*/ 14 w 326"/>
                <a:gd name="T35" fmla="*/ 0 h 135"/>
                <a:gd name="T36" fmla="*/ 9 w 326"/>
                <a:gd name="T37" fmla="*/ 1 h 135"/>
                <a:gd name="T38" fmla="*/ 5 w 326"/>
                <a:gd name="T39" fmla="*/ 2 h 135"/>
                <a:gd name="T40" fmla="*/ 3 w 326"/>
                <a:gd name="T41" fmla="*/ 3 h 135"/>
                <a:gd name="T42" fmla="*/ 1 w 326"/>
                <a:gd name="T43" fmla="*/ 4 h 135"/>
                <a:gd name="T44" fmla="*/ 0 w 326"/>
                <a:gd name="T45" fmla="*/ 5 h 135"/>
                <a:gd name="T46" fmla="*/ 0 w 326"/>
                <a:gd name="T47" fmla="*/ 6 h 135"/>
                <a:gd name="T48" fmla="*/ 4 w 326"/>
                <a:gd name="T49" fmla="*/ 8 h 135"/>
                <a:gd name="T50" fmla="*/ 6 w 326"/>
                <a:gd name="T51" fmla="*/ 9 h 135"/>
                <a:gd name="T52" fmla="*/ 4 w 326"/>
                <a:gd name="T53" fmla="*/ 10 h 135"/>
                <a:gd name="T54" fmla="*/ 4 w 326"/>
                <a:gd name="T55" fmla="*/ 11 h 135"/>
                <a:gd name="T56" fmla="*/ 5 w 326"/>
                <a:gd name="T57" fmla="*/ 13 h 135"/>
                <a:gd name="T58" fmla="*/ 5 w 326"/>
                <a:gd name="T59" fmla="*/ 14 h 135"/>
                <a:gd name="T60" fmla="*/ 6 w 326"/>
                <a:gd name="T61" fmla="*/ 15 h 135"/>
                <a:gd name="T62" fmla="*/ 7 w 326"/>
                <a:gd name="T63" fmla="*/ 15 h 135"/>
                <a:gd name="T64" fmla="*/ 9 w 326"/>
                <a:gd name="T65" fmla="*/ 15 h 135"/>
                <a:gd name="T66" fmla="*/ 11 w 326"/>
                <a:gd name="T67" fmla="*/ 14 h 135"/>
                <a:gd name="T68" fmla="*/ 12 w 326"/>
                <a:gd name="T69" fmla="*/ 14 h 135"/>
                <a:gd name="T70" fmla="*/ 13 w 326"/>
                <a:gd name="T71" fmla="*/ 12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5 w 159"/>
                <a:gd name="T1" fmla="*/ 5 h 56"/>
                <a:gd name="T2" fmla="*/ 4 w 159"/>
                <a:gd name="T3" fmla="*/ 5 h 56"/>
                <a:gd name="T4" fmla="*/ 4 w 159"/>
                <a:gd name="T5" fmla="*/ 5 h 56"/>
                <a:gd name="T6" fmla="*/ 3 w 159"/>
                <a:gd name="T7" fmla="*/ 5 h 56"/>
                <a:gd name="T8" fmla="*/ 2 w 159"/>
                <a:gd name="T9" fmla="*/ 4 h 56"/>
                <a:gd name="T10" fmla="*/ 1 w 159"/>
                <a:gd name="T11" fmla="*/ 3 h 56"/>
                <a:gd name="T12" fmla="*/ 1 w 159"/>
                <a:gd name="T13" fmla="*/ 3 h 56"/>
                <a:gd name="T14" fmla="*/ 0 w 159"/>
                <a:gd name="T15" fmla="*/ 2 h 56"/>
                <a:gd name="T16" fmla="*/ 0 w 159"/>
                <a:gd name="T17" fmla="*/ 2 h 56"/>
                <a:gd name="T18" fmla="*/ 0 w 159"/>
                <a:gd name="T19" fmla="*/ 1 h 56"/>
                <a:gd name="T20" fmla="*/ 0 w 159"/>
                <a:gd name="T21" fmla="*/ 1 h 56"/>
                <a:gd name="T22" fmla="*/ 2 w 159"/>
                <a:gd name="T23" fmla="*/ 1 h 56"/>
                <a:gd name="T24" fmla="*/ 4 w 159"/>
                <a:gd name="T25" fmla="*/ 1 h 56"/>
                <a:gd name="T26" fmla="*/ 5 w 159"/>
                <a:gd name="T27" fmla="*/ 1 h 56"/>
                <a:gd name="T28" fmla="*/ 6 w 159"/>
                <a:gd name="T29" fmla="*/ 1 h 56"/>
                <a:gd name="T30" fmla="*/ 9 w 159"/>
                <a:gd name="T31" fmla="*/ 1 h 56"/>
                <a:gd name="T32" fmla="*/ 12 w 159"/>
                <a:gd name="T33" fmla="*/ 0 h 56"/>
                <a:gd name="T34" fmla="*/ 13 w 159"/>
                <a:gd name="T35" fmla="*/ 0 h 56"/>
                <a:gd name="T36" fmla="*/ 13 w 159"/>
                <a:gd name="T37" fmla="*/ 0 h 56"/>
                <a:gd name="T38" fmla="*/ 14 w 159"/>
                <a:gd name="T39" fmla="*/ 0 h 56"/>
                <a:gd name="T40" fmla="*/ 15 w 159"/>
                <a:gd name="T41" fmla="*/ 0 h 56"/>
                <a:gd name="T42" fmla="*/ 15 w 159"/>
                <a:gd name="T43" fmla="*/ 1 h 56"/>
                <a:gd name="T44" fmla="*/ 16 w 159"/>
                <a:gd name="T45" fmla="*/ 1 h 56"/>
                <a:gd name="T46" fmla="*/ 16 w 159"/>
                <a:gd name="T47" fmla="*/ 2 h 56"/>
                <a:gd name="T48" fmla="*/ 16 w 159"/>
                <a:gd name="T49" fmla="*/ 2 h 56"/>
                <a:gd name="T50" fmla="*/ 16 w 159"/>
                <a:gd name="T51" fmla="*/ 3 h 56"/>
                <a:gd name="T52" fmla="*/ 16 w 159"/>
                <a:gd name="T53" fmla="*/ 4 h 56"/>
                <a:gd name="T54" fmla="*/ 15 w 159"/>
                <a:gd name="T55" fmla="*/ 5 h 56"/>
                <a:gd name="T56" fmla="*/ 15 w 159"/>
                <a:gd name="T57" fmla="*/ 5 h 56"/>
                <a:gd name="T58" fmla="*/ 14 w 159"/>
                <a:gd name="T59" fmla="*/ 5 h 56"/>
                <a:gd name="T60" fmla="*/ 13 w 159"/>
                <a:gd name="T61" fmla="*/ 5 h 56"/>
                <a:gd name="T62" fmla="*/ 13 w 159"/>
                <a:gd name="T63" fmla="*/ 6 h 56"/>
                <a:gd name="T64" fmla="*/ 12 w 159"/>
                <a:gd name="T65" fmla="*/ 6 h 56"/>
                <a:gd name="T66" fmla="*/ 8 w 159"/>
                <a:gd name="T67" fmla="*/ 6 h 56"/>
                <a:gd name="T68" fmla="*/ 5 w 159"/>
                <a:gd name="T69" fmla="*/ 5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05 w 3734"/>
                <a:gd name="T1" fmla="*/ 147 h 1644"/>
                <a:gd name="T2" fmla="*/ 266 w 3734"/>
                <a:gd name="T3" fmla="*/ 164 h 1644"/>
                <a:gd name="T4" fmla="*/ 241 w 3734"/>
                <a:gd name="T5" fmla="*/ 171 h 1644"/>
                <a:gd name="T6" fmla="*/ 239 w 3734"/>
                <a:gd name="T7" fmla="*/ 176 h 1644"/>
                <a:gd name="T8" fmla="*/ 227 w 3734"/>
                <a:gd name="T9" fmla="*/ 173 h 1644"/>
                <a:gd name="T10" fmla="*/ 237 w 3734"/>
                <a:gd name="T11" fmla="*/ 163 h 1644"/>
                <a:gd name="T12" fmla="*/ 226 w 3734"/>
                <a:gd name="T13" fmla="*/ 152 h 1644"/>
                <a:gd name="T14" fmla="*/ 218 w 3734"/>
                <a:gd name="T15" fmla="*/ 139 h 1644"/>
                <a:gd name="T16" fmla="*/ 203 w 3734"/>
                <a:gd name="T17" fmla="*/ 142 h 1644"/>
                <a:gd name="T18" fmla="*/ 185 w 3734"/>
                <a:gd name="T19" fmla="*/ 138 h 1644"/>
                <a:gd name="T20" fmla="*/ 27 w 3734"/>
                <a:gd name="T21" fmla="*/ 133 h 1644"/>
                <a:gd name="T22" fmla="*/ 13 w 3734"/>
                <a:gd name="T23" fmla="*/ 121 h 1644"/>
                <a:gd name="T24" fmla="*/ 16 w 3734"/>
                <a:gd name="T25" fmla="*/ 112 h 1644"/>
                <a:gd name="T26" fmla="*/ 15 w 3734"/>
                <a:gd name="T27" fmla="*/ 100 h 1644"/>
                <a:gd name="T28" fmla="*/ 27 w 3734"/>
                <a:gd name="T29" fmla="*/ 92 h 1644"/>
                <a:gd name="T30" fmla="*/ 26 w 3734"/>
                <a:gd name="T31" fmla="*/ 80 h 1644"/>
                <a:gd name="T32" fmla="*/ 13 w 3734"/>
                <a:gd name="T33" fmla="*/ 71 h 1644"/>
                <a:gd name="T34" fmla="*/ 63 w 3734"/>
                <a:gd name="T35" fmla="*/ 12 h 1644"/>
                <a:gd name="T36" fmla="*/ 119 w 3734"/>
                <a:gd name="T37" fmla="*/ 11 h 1644"/>
                <a:gd name="T38" fmla="*/ 135 w 3734"/>
                <a:gd name="T39" fmla="*/ 12 h 1644"/>
                <a:gd name="T40" fmla="*/ 171 w 3734"/>
                <a:gd name="T41" fmla="*/ 18 h 1644"/>
                <a:gd name="T42" fmla="*/ 185 w 3734"/>
                <a:gd name="T43" fmla="*/ 22 h 1644"/>
                <a:gd name="T44" fmla="*/ 216 w 3734"/>
                <a:gd name="T45" fmla="*/ 21 h 1644"/>
                <a:gd name="T46" fmla="*/ 238 w 3734"/>
                <a:gd name="T47" fmla="*/ 23 h 1644"/>
                <a:gd name="T48" fmla="*/ 246 w 3734"/>
                <a:gd name="T49" fmla="*/ 23 h 1644"/>
                <a:gd name="T50" fmla="*/ 262 w 3734"/>
                <a:gd name="T51" fmla="*/ 13 h 1644"/>
                <a:gd name="T52" fmla="*/ 269 w 3734"/>
                <a:gd name="T53" fmla="*/ 0 h 1644"/>
                <a:gd name="T54" fmla="*/ 275 w 3734"/>
                <a:gd name="T55" fmla="*/ 11 h 1644"/>
                <a:gd name="T56" fmla="*/ 278 w 3734"/>
                <a:gd name="T57" fmla="*/ 18 h 1644"/>
                <a:gd name="T58" fmla="*/ 283 w 3734"/>
                <a:gd name="T59" fmla="*/ 21 h 1644"/>
                <a:gd name="T60" fmla="*/ 301 w 3734"/>
                <a:gd name="T61" fmla="*/ 13 h 1644"/>
                <a:gd name="T62" fmla="*/ 316 w 3734"/>
                <a:gd name="T63" fmla="*/ 14 h 1644"/>
                <a:gd name="T64" fmla="*/ 300 w 3734"/>
                <a:gd name="T65" fmla="*/ 29 h 1644"/>
                <a:gd name="T66" fmla="*/ 290 w 3734"/>
                <a:gd name="T67" fmla="*/ 31 h 1644"/>
                <a:gd name="T68" fmla="*/ 268 w 3734"/>
                <a:gd name="T69" fmla="*/ 33 h 1644"/>
                <a:gd name="T70" fmla="*/ 260 w 3734"/>
                <a:gd name="T71" fmla="*/ 43 h 1644"/>
                <a:gd name="T72" fmla="*/ 243 w 3734"/>
                <a:gd name="T73" fmla="*/ 50 h 1644"/>
                <a:gd name="T74" fmla="*/ 217 w 3734"/>
                <a:gd name="T75" fmla="*/ 67 h 1644"/>
                <a:gd name="T76" fmla="*/ 219 w 3734"/>
                <a:gd name="T77" fmla="*/ 85 h 1644"/>
                <a:gd name="T78" fmla="*/ 246 w 3734"/>
                <a:gd name="T79" fmla="*/ 97 h 1644"/>
                <a:gd name="T80" fmla="*/ 254 w 3734"/>
                <a:gd name="T81" fmla="*/ 114 h 1644"/>
                <a:gd name="T82" fmla="*/ 272 w 3734"/>
                <a:gd name="T83" fmla="*/ 106 h 1644"/>
                <a:gd name="T84" fmla="*/ 297 w 3734"/>
                <a:gd name="T85" fmla="*/ 84 h 1644"/>
                <a:gd name="T86" fmla="*/ 302 w 3734"/>
                <a:gd name="T87" fmla="*/ 64 h 1644"/>
                <a:gd name="T88" fmla="*/ 329 w 3734"/>
                <a:gd name="T89" fmla="*/ 54 h 1644"/>
                <a:gd name="T90" fmla="*/ 341 w 3734"/>
                <a:gd name="T91" fmla="*/ 64 h 1644"/>
                <a:gd name="T92" fmla="*/ 336 w 3734"/>
                <a:gd name="T93" fmla="*/ 79 h 1644"/>
                <a:gd name="T94" fmla="*/ 364 w 3734"/>
                <a:gd name="T95" fmla="*/ 66 h 1644"/>
                <a:gd name="T96" fmla="*/ 369 w 3734"/>
                <a:gd name="T97" fmla="*/ 83 h 1644"/>
                <a:gd name="T98" fmla="*/ 381 w 3734"/>
                <a:gd name="T99" fmla="*/ 99 h 1644"/>
                <a:gd name="T100" fmla="*/ 377 w 3734"/>
                <a:gd name="T101" fmla="*/ 103 h 1644"/>
                <a:gd name="T102" fmla="*/ 385 w 3734"/>
                <a:gd name="T103" fmla="*/ 110 h 1644"/>
                <a:gd name="T104" fmla="*/ 370 w 3734"/>
                <a:gd name="T105" fmla="*/ 119 h 1644"/>
                <a:gd name="T106" fmla="*/ 328 w 3734"/>
                <a:gd name="T107" fmla="*/ 126 h 1644"/>
                <a:gd name="T108" fmla="*/ 297 w 3734"/>
                <a:gd name="T109" fmla="*/ 144 h 1644"/>
                <a:gd name="T110" fmla="*/ 302 w 3734"/>
                <a:gd name="T111" fmla="*/ 144 h 1644"/>
                <a:gd name="T112" fmla="*/ 335 w 3734"/>
                <a:gd name="T113" fmla="*/ 135 h 1644"/>
                <a:gd name="T114" fmla="*/ 319 w 3734"/>
                <a:gd name="T115" fmla="*/ 140 h 1644"/>
                <a:gd name="T116" fmla="*/ 327 w 3734"/>
                <a:gd name="T117" fmla="*/ 150 h 1644"/>
                <a:gd name="T118" fmla="*/ 338 w 3734"/>
                <a:gd name="T119" fmla="*/ 158 h 1644"/>
                <a:gd name="T120" fmla="*/ 314 w 3734"/>
                <a:gd name="T121" fmla="*/ 168 h 1644"/>
                <a:gd name="T122" fmla="*/ 332 w 3734"/>
                <a:gd name="T123" fmla="*/ 158 h 1644"/>
                <a:gd name="T124" fmla="*/ 314 w 3734"/>
                <a:gd name="T125" fmla="*/ 16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9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5047707" y="6106957"/>
            <a:ext cx="127000" cy="158750"/>
          </a:xfrm>
          <a:custGeom>
            <a:avLst/>
            <a:gdLst>
              <a:gd name="T0" fmla="*/ 50128901 w 292"/>
              <a:gd name="T1" fmla="*/ 2656485 h 308"/>
              <a:gd name="T2" fmla="*/ 52209613 w 292"/>
              <a:gd name="T3" fmla="*/ 9829614 h 308"/>
              <a:gd name="T4" fmla="*/ 54101130 w 292"/>
              <a:gd name="T5" fmla="*/ 24174842 h 308"/>
              <a:gd name="T6" fmla="*/ 55236301 w 292"/>
              <a:gd name="T7" fmla="*/ 38255142 h 308"/>
              <a:gd name="T8" fmla="*/ 55047106 w 292"/>
              <a:gd name="T9" fmla="*/ 42771270 h 308"/>
              <a:gd name="T10" fmla="*/ 54101130 w 292"/>
              <a:gd name="T11" fmla="*/ 47553356 h 308"/>
              <a:gd name="T12" fmla="*/ 50885682 w 292"/>
              <a:gd name="T13" fmla="*/ 54725970 h 308"/>
              <a:gd name="T14" fmla="*/ 43697134 w 292"/>
              <a:gd name="T15" fmla="*/ 49147041 h 308"/>
              <a:gd name="T16" fmla="*/ 31212425 w 292"/>
              <a:gd name="T17" fmla="*/ 68540313 h 308"/>
              <a:gd name="T18" fmla="*/ 24969853 w 292"/>
              <a:gd name="T19" fmla="*/ 73853283 h 308"/>
              <a:gd name="T20" fmla="*/ 11160777 w 292"/>
              <a:gd name="T21" fmla="*/ 78635369 h 308"/>
              <a:gd name="T22" fmla="*/ 6053377 w 292"/>
              <a:gd name="T23" fmla="*/ 81823255 h 308"/>
              <a:gd name="T24" fmla="*/ 1135171 w 292"/>
              <a:gd name="T25" fmla="*/ 81823255 h 308"/>
              <a:gd name="T26" fmla="*/ 1702322 w 292"/>
              <a:gd name="T27" fmla="*/ 78900812 h 308"/>
              <a:gd name="T28" fmla="*/ 2080712 w 292"/>
              <a:gd name="T29" fmla="*/ 75978884 h 308"/>
              <a:gd name="T30" fmla="*/ 1324366 w 292"/>
              <a:gd name="T31" fmla="*/ 70399955 h 308"/>
              <a:gd name="T32" fmla="*/ 378390 w 292"/>
              <a:gd name="T33" fmla="*/ 65352427 h 308"/>
              <a:gd name="T34" fmla="*/ 0 w 292"/>
              <a:gd name="T35" fmla="*/ 60570341 h 308"/>
              <a:gd name="T36" fmla="*/ 567586 w 292"/>
              <a:gd name="T37" fmla="*/ 54460528 h 308"/>
              <a:gd name="T38" fmla="*/ 2269908 w 292"/>
              <a:gd name="T39" fmla="*/ 49943884 h 308"/>
              <a:gd name="T40" fmla="*/ 4918205 w 292"/>
              <a:gd name="T41" fmla="*/ 46224598 h 308"/>
              <a:gd name="T42" fmla="*/ 7944894 w 292"/>
              <a:gd name="T43" fmla="*/ 42771270 h 308"/>
              <a:gd name="T44" fmla="*/ 14565856 w 292"/>
              <a:gd name="T45" fmla="*/ 35864099 h 308"/>
              <a:gd name="T46" fmla="*/ 17592545 w 292"/>
              <a:gd name="T47" fmla="*/ 31613413 h 308"/>
              <a:gd name="T48" fmla="*/ 19862452 w 292"/>
              <a:gd name="T49" fmla="*/ 26034485 h 308"/>
              <a:gd name="T50" fmla="*/ 18538086 w 292"/>
              <a:gd name="T51" fmla="*/ 25503600 h 308"/>
              <a:gd name="T52" fmla="*/ 17403349 w 292"/>
              <a:gd name="T53" fmla="*/ 24174842 h 308"/>
              <a:gd name="T54" fmla="*/ 15511397 w 292"/>
              <a:gd name="T55" fmla="*/ 19393271 h 308"/>
              <a:gd name="T56" fmla="*/ 13998271 w 292"/>
              <a:gd name="T57" fmla="*/ 13282942 h 308"/>
              <a:gd name="T58" fmla="*/ 13619880 w 292"/>
              <a:gd name="T59" fmla="*/ 6375771 h 308"/>
              <a:gd name="T60" fmla="*/ 17024959 w 292"/>
              <a:gd name="T61" fmla="*/ 5047528 h 308"/>
              <a:gd name="T62" fmla="*/ 19862452 w 292"/>
              <a:gd name="T63" fmla="*/ 5312971 h 308"/>
              <a:gd name="T64" fmla="*/ 24969853 w 292"/>
              <a:gd name="T65" fmla="*/ 6375771 h 308"/>
              <a:gd name="T66" fmla="*/ 31968771 w 292"/>
              <a:gd name="T67" fmla="*/ 5578929 h 308"/>
              <a:gd name="T68" fmla="*/ 39724904 w 292"/>
              <a:gd name="T69" fmla="*/ 3187886 h 308"/>
              <a:gd name="T70" fmla="*/ 48993729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154069" y="6257769"/>
            <a:ext cx="6350" cy="57150"/>
          </a:xfrm>
          <a:custGeom>
            <a:avLst/>
            <a:gdLst>
              <a:gd name="T0" fmla="*/ 2262868 w 14"/>
              <a:gd name="T1" fmla="*/ 0 h 7"/>
              <a:gd name="T2" fmla="*/ 2674257 w 14"/>
              <a:gd name="T3" fmla="*/ 199967850 h 7"/>
              <a:gd name="T4" fmla="*/ 2880179 w 14"/>
              <a:gd name="T5" fmla="*/ 466588929 h 7"/>
              <a:gd name="T6" fmla="*/ 0 w 14"/>
              <a:gd name="T7" fmla="*/ 466588929 h 7"/>
              <a:gd name="T8" fmla="*/ 2262868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644482" y="5494182"/>
            <a:ext cx="249237" cy="500062"/>
          </a:xfrm>
          <a:custGeom>
            <a:avLst/>
            <a:gdLst>
              <a:gd name="T0" fmla="*/ 14905745 w 581"/>
              <a:gd name="T1" fmla="*/ 31531135 h 955"/>
              <a:gd name="T2" fmla="*/ 19138485 w 581"/>
              <a:gd name="T3" fmla="*/ 41675848 h 955"/>
              <a:gd name="T4" fmla="*/ 20426710 w 581"/>
              <a:gd name="T5" fmla="*/ 49353239 h 955"/>
              <a:gd name="T6" fmla="*/ 17482195 w 581"/>
              <a:gd name="T7" fmla="*/ 64158740 h 955"/>
              <a:gd name="T8" fmla="*/ 17666227 w 581"/>
              <a:gd name="T9" fmla="*/ 89109478 h 955"/>
              <a:gd name="T10" fmla="*/ 17114131 w 581"/>
              <a:gd name="T11" fmla="*/ 99528570 h 955"/>
              <a:gd name="T12" fmla="*/ 15089777 w 581"/>
              <a:gd name="T13" fmla="*/ 108576813 h 955"/>
              <a:gd name="T14" fmla="*/ 10857467 w 581"/>
              <a:gd name="T15" fmla="*/ 117624531 h 955"/>
              <a:gd name="T16" fmla="*/ 5704567 w 581"/>
              <a:gd name="T17" fmla="*/ 126398394 h 955"/>
              <a:gd name="T18" fmla="*/ 3128546 w 581"/>
              <a:gd name="T19" fmla="*/ 131882320 h 955"/>
              <a:gd name="T20" fmla="*/ 368064 w 581"/>
              <a:gd name="T21" fmla="*/ 148607430 h 955"/>
              <a:gd name="T22" fmla="*/ 12697789 w 581"/>
              <a:gd name="T23" fmla="*/ 168896857 h 955"/>
              <a:gd name="T24" fmla="*/ 12697789 w 581"/>
              <a:gd name="T25" fmla="*/ 173832024 h 955"/>
              <a:gd name="T26" fmla="*/ 13617520 w 581"/>
              <a:gd name="T27" fmla="*/ 182332030 h 955"/>
              <a:gd name="T28" fmla="*/ 13617520 w 581"/>
              <a:gd name="T29" fmla="*/ 190831514 h 955"/>
              <a:gd name="T30" fmla="*/ 14353649 w 581"/>
              <a:gd name="T31" fmla="*/ 200976227 h 955"/>
              <a:gd name="T32" fmla="*/ 17298163 w 581"/>
              <a:gd name="T33" fmla="*/ 213314406 h 955"/>
              <a:gd name="T34" fmla="*/ 19322517 w 581"/>
              <a:gd name="T35" fmla="*/ 217153102 h 955"/>
              <a:gd name="T36" fmla="*/ 12513757 w 581"/>
              <a:gd name="T37" fmla="*/ 217701337 h 955"/>
              <a:gd name="T38" fmla="*/ 7728921 w 581"/>
              <a:gd name="T39" fmla="*/ 219894803 h 955"/>
              <a:gd name="T40" fmla="*/ 6624728 w 581"/>
              <a:gd name="T41" fmla="*/ 222637028 h 955"/>
              <a:gd name="T42" fmla="*/ 7728921 w 581"/>
              <a:gd name="T43" fmla="*/ 230862131 h 955"/>
              <a:gd name="T44" fmla="*/ 12697789 w 581"/>
              <a:gd name="T45" fmla="*/ 240184753 h 955"/>
              <a:gd name="T46" fmla="*/ 16009938 w 581"/>
              <a:gd name="T47" fmla="*/ 246490770 h 955"/>
              <a:gd name="T48" fmla="*/ 18402356 w 581"/>
              <a:gd name="T49" fmla="*/ 254167639 h 955"/>
              <a:gd name="T50" fmla="*/ 28707727 w 581"/>
              <a:gd name="T51" fmla="*/ 261845030 h 955"/>
              <a:gd name="T52" fmla="*/ 34780358 w 581"/>
              <a:gd name="T53" fmla="*/ 258280714 h 955"/>
              <a:gd name="T54" fmla="*/ 45637826 w 581"/>
              <a:gd name="T55" fmla="*/ 254716398 h 955"/>
              <a:gd name="T56" fmla="*/ 51342393 w 581"/>
              <a:gd name="T57" fmla="*/ 252522932 h 955"/>
              <a:gd name="T58" fmla="*/ 54654972 w 581"/>
              <a:gd name="T59" fmla="*/ 247861621 h 955"/>
              <a:gd name="T60" fmla="*/ 55575132 w 581"/>
              <a:gd name="T61" fmla="*/ 244571684 h 955"/>
              <a:gd name="T62" fmla="*/ 55575132 w 581"/>
              <a:gd name="T63" fmla="*/ 237991287 h 955"/>
              <a:gd name="T64" fmla="*/ 62199860 w 581"/>
              <a:gd name="T65" fmla="*/ 238813379 h 955"/>
              <a:gd name="T66" fmla="*/ 67536363 w 581"/>
              <a:gd name="T67" fmla="*/ 237442528 h 955"/>
              <a:gd name="T68" fmla="*/ 71585070 w 581"/>
              <a:gd name="T69" fmla="*/ 234700827 h 955"/>
              <a:gd name="T70" fmla="*/ 74529585 w 581"/>
              <a:gd name="T71" fmla="*/ 230862131 h 955"/>
              <a:gd name="T72" fmla="*/ 79498023 w 581"/>
              <a:gd name="T73" fmla="*/ 221265653 h 955"/>
              <a:gd name="T74" fmla="*/ 84650494 w 581"/>
              <a:gd name="T75" fmla="*/ 211943555 h 955"/>
              <a:gd name="T76" fmla="*/ 87779041 w 581"/>
              <a:gd name="T77" fmla="*/ 208379239 h 955"/>
              <a:gd name="T78" fmla="*/ 92379844 w 581"/>
              <a:gd name="T79" fmla="*/ 206185773 h 955"/>
              <a:gd name="T80" fmla="*/ 95876026 w 581"/>
              <a:gd name="T81" fmla="*/ 204266687 h 955"/>
              <a:gd name="T82" fmla="*/ 91827748 w 581"/>
              <a:gd name="T83" fmla="*/ 191105893 h 955"/>
              <a:gd name="T84" fmla="*/ 89067266 w 581"/>
              <a:gd name="T85" fmla="*/ 179041570 h 955"/>
              <a:gd name="T86" fmla="*/ 86858880 w 581"/>
              <a:gd name="T87" fmla="*/ 170815943 h 955"/>
              <a:gd name="T88" fmla="*/ 88515169 w 581"/>
              <a:gd name="T89" fmla="*/ 167251627 h 955"/>
              <a:gd name="T90" fmla="*/ 89619362 w 581"/>
              <a:gd name="T91" fmla="*/ 158752144 h 955"/>
              <a:gd name="T92" fmla="*/ 90907587 w 581"/>
              <a:gd name="T93" fmla="*/ 148333051 h 955"/>
              <a:gd name="T94" fmla="*/ 92931941 w 581"/>
              <a:gd name="T95" fmla="*/ 142300889 h 955"/>
              <a:gd name="T96" fmla="*/ 97900379 w 581"/>
              <a:gd name="T97" fmla="*/ 133253171 h 955"/>
              <a:gd name="T98" fmla="*/ 104893172 w 581"/>
              <a:gd name="T99" fmla="*/ 126398394 h 955"/>
              <a:gd name="T100" fmla="*/ 23738859 w 581"/>
              <a:gd name="T101" fmla="*/ 0 h 955"/>
              <a:gd name="T102" fmla="*/ 18034292 w 581"/>
              <a:gd name="T103" fmla="*/ 1370851 h 955"/>
              <a:gd name="T104" fmla="*/ 12697789 w 581"/>
              <a:gd name="T105" fmla="*/ 658039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320632" y="4876644"/>
            <a:ext cx="15875" cy="57150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13 h 36"/>
              <a:gd name="T4" fmla="*/ 2862439 w 45"/>
              <a:gd name="T5" fmla="*/ 90725625 h 36"/>
              <a:gd name="T6" fmla="*/ 5600347 w 45"/>
              <a:gd name="T7" fmla="*/ 37803138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9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620419" y="6937219"/>
            <a:ext cx="384175" cy="1031875"/>
            <a:chOff x="1589" y="3126"/>
            <a:chExt cx="290" cy="657"/>
          </a:xfrm>
          <a:solidFill>
            <a:srgbClr val="3C5C4F"/>
          </a:solidFill>
        </p:grpSpPr>
        <p:sp>
          <p:nvSpPr>
            <p:cNvPr id="49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5 w 46"/>
                <a:gd name="T1" fmla="*/ 1 h 51"/>
                <a:gd name="T2" fmla="*/ 2 w 46"/>
                <a:gd name="T3" fmla="*/ 0 h 51"/>
                <a:gd name="T4" fmla="*/ 1 w 46"/>
                <a:gd name="T5" fmla="*/ 1 h 51"/>
                <a:gd name="T6" fmla="*/ 1 w 46"/>
                <a:gd name="T7" fmla="*/ 1 h 51"/>
                <a:gd name="T8" fmla="*/ 0 w 46"/>
                <a:gd name="T9" fmla="*/ 1 h 51"/>
                <a:gd name="T10" fmla="*/ 0 w 46"/>
                <a:gd name="T11" fmla="*/ 2 h 51"/>
                <a:gd name="T12" fmla="*/ 0 w 46"/>
                <a:gd name="T13" fmla="*/ 2 h 51"/>
                <a:gd name="T14" fmla="*/ 0 w 46"/>
                <a:gd name="T15" fmla="*/ 2 h 51"/>
                <a:gd name="T16" fmla="*/ 0 w 46"/>
                <a:gd name="T17" fmla="*/ 3 h 51"/>
                <a:gd name="T18" fmla="*/ 0 w 46"/>
                <a:gd name="T19" fmla="*/ 3 h 51"/>
                <a:gd name="T20" fmla="*/ 0 w 46"/>
                <a:gd name="T21" fmla="*/ 4 h 51"/>
                <a:gd name="T22" fmla="*/ 1 w 46"/>
                <a:gd name="T23" fmla="*/ 5 h 51"/>
                <a:gd name="T24" fmla="*/ 1 w 46"/>
                <a:gd name="T25" fmla="*/ 5 h 51"/>
                <a:gd name="T26" fmla="*/ 1 w 46"/>
                <a:gd name="T27" fmla="*/ 5 h 51"/>
                <a:gd name="T28" fmla="*/ 2 w 46"/>
                <a:gd name="T29" fmla="*/ 6 h 51"/>
                <a:gd name="T30" fmla="*/ 2 w 46"/>
                <a:gd name="T31" fmla="*/ 6 h 51"/>
                <a:gd name="T32" fmla="*/ 2 w 46"/>
                <a:gd name="T33" fmla="*/ 6 h 51"/>
                <a:gd name="T34" fmla="*/ 2 w 46"/>
                <a:gd name="T35" fmla="*/ 6 h 51"/>
                <a:gd name="T36" fmla="*/ 4 w 46"/>
                <a:gd name="T37" fmla="*/ 6 h 51"/>
                <a:gd name="T38" fmla="*/ 5 w 46"/>
                <a:gd name="T39" fmla="*/ 6 h 51"/>
                <a:gd name="T40" fmla="*/ 5 w 46"/>
                <a:gd name="T41" fmla="*/ 4 h 51"/>
                <a:gd name="T42" fmla="*/ 5 w 46"/>
                <a:gd name="T43" fmla="*/ 3 h 51"/>
                <a:gd name="T44" fmla="*/ 5 w 46"/>
                <a:gd name="T45" fmla="*/ 2 h 51"/>
                <a:gd name="T46" fmla="*/ 5 w 46"/>
                <a:gd name="T47" fmla="*/ 1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 h 158"/>
                <a:gd name="T4" fmla="*/ 0 w 192"/>
                <a:gd name="T5" fmla="*/ 3 h 158"/>
                <a:gd name="T6" fmla="*/ 0 w 192"/>
                <a:gd name="T7" fmla="*/ 4 h 158"/>
                <a:gd name="T8" fmla="*/ 1 w 192"/>
                <a:gd name="T9" fmla="*/ 6 h 158"/>
                <a:gd name="T10" fmla="*/ 1 w 192"/>
                <a:gd name="T11" fmla="*/ 7 h 158"/>
                <a:gd name="T12" fmla="*/ 2 w 192"/>
                <a:gd name="T13" fmla="*/ 8 h 158"/>
                <a:gd name="T14" fmla="*/ 2 w 192"/>
                <a:gd name="T15" fmla="*/ 9 h 158"/>
                <a:gd name="T16" fmla="*/ 3 w 192"/>
                <a:gd name="T17" fmla="*/ 10 h 158"/>
                <a:gd name="T18" fmla="*/ 5 w 192"/>
                <a:gd name="T19" fmla="*/ 14 h 158"/>
                <a:gd name="T20" fmla="*/ 7 w 192"/>
                <a:gd name="T21" fmla="*/ 17 h 158"/>
                <a:gd name="T22" fmla="*/ 8 w 192"/>
                <a:gd name="T23" fmla="*/ 17 h 158"/>
                <a:gd name="T24" fmla="*/ 9 w 192"/>
                <a:gd name="T25" fmla="*/ 17 h 158"/>
                <a:gd name="T26" fmla="*/ 9 w 192"/>
                <a:gd name="T27" fmla="*/ 17 h 158"/>
                <a:gd name="T28" fmla="*/ 10 w 192"/>
                <a:gd name="T29" fmla="*/ 17 h 158"/>
                <a:gd name="T30" fmla="*/ 11 w 192"/>
                <a:gd name="T31" fmla="*/ 18 h 158"/>
                <a:gd name="T32" fmla="*/ 13 w 192"/>
                <a:gd name="T33" fmla="*/ 18 h 158"/>
                <a:gd name="T34" fmla="*/ 16 w 192"/>
                <a:gd name="T35" fmla="*/ 17 h 158"/>
                <a:gd name="T36" fmla="*/ 21 w 192"/>
                <a:gd name="T37" fmla="*/ 17 h 158"/>
                <a:gd name="T38" fmla="*/ 20 w 192"/>
                <a:gd name="T39" fmla="*/ 17 h 158"/>
                <a:gd name="T40" fmla="*/ 19 w 192"/>
                <a:gd name="T41" fmla="*/ 17 h 158"/>
                <a:gd name="T42" fmla="*/ 18 w 192"/>
                <a:gd name="T43" fmla="*/ 17 h 158"/>
                <a:gd name="T44" fmla="*/ 17 w 192"/>
                <a:gd name="T45" fmla="*/ 17 h 158"/>
                <a:gd name="T46" fmla="*/ 16 w 192"/>
                <a:gd name="T47" fmla="*/ 16 h 158"/>
                <a:gd name="T48" fmla="*/ 14 w 192"/>
                <a:gd name="T49" fmla="*/ 15 h 158"/>
                <a:gd name="T50" fmla="*/ 12 w 192"/>
                <a:gd name="T51" fmla="*/ 15 h 158"/>
                <a:gd name="T52" fmla="*/ 11 w 192"/>
                <a:gd name="T53" fmla="*/ 13 h 158"/>
                <a:gd name="T54" fmla="*/ 10 w 192"/>
                <a:gd name="T55" fmla="*/ 12 h 158"/>
                <a:gd name="T56" fmla="*/ 8 w 192"/>
                <a:gd name="T57" fmla="*/ 11 h 158"/>
                <a:gd name="T58" fmla="*/ 7 w 192"/>
                <a:gd name="T59" fmla="*/ 10 h 158"/>
                <a:gd name="T60" fmla="*/ 6 w 192"/>
                <a:gd name="T61" fmla="*/ 8 h 158"/>
                <a:gd name="T62" fmla="*/ 5 w 192"/>
                <a:gd name="T63" fmla="*/ 7 h 158"/>
                <a:gd name="T64" fmla="*/ 4 w 192"/>
                <a:gd name="T65" fmla="*/ 6 h 158"/>
                <a:gd name="T66" fmla="*/ 3 w 192"/>
                <a:gd name="T67" fmla="*/ 4 h 158"/>
                <a:gd name="T68" fmla="*/ 2 w 192"/>
                <a:gd name="T69" fmla="*/ 3 h 158"/>
                <a:gd name="T70" fmla="*/ 2 w 192"/>
                <a:gd name="T71" fmla="*/ 2 h 158"/>
                <a:gd name="T72" fmla="*/ 1 w 192"/>
                <a:gd name="T73" fmla="*/ 1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83 w 884"/>
                <a:gd name="T1" fmla="*/ 46 h 1818"/>
                <a:gd name="T2" fmla="*/ 94 w 884"/>
                <a:gd name="T3" fmla="*/ 38 h 1818"/>
                <a:gd name="T4" fmla="*/ 95 w 884"/>
                <a:gd name="T5" fmla="*/ 26 h 1818"/>
                <a:gd name="T6" fmla="*/ 91 w 884"/>
                <a:gd name="T7" fmla="*/ 21 h 1818"/>
                <a:gd name="T8" fmla="*/ 91 w 884"/>
                <a:gd name="T9" fmla="*/ 29 h 1818"/>
                <a:gd name="T10" fmla="*/ 83 w 884"/>
                <a:gd name="T11" fmla="*/ 36 h 1818"/>
                <a:gd name="T12" fmla="*/ 72 w 884"/>
                <a:gd name="T13" fmla="*/ 37 h 1818"/>
                <a:gd name="T14" fmla="*/ 67 w 884"/>
                <a:gd name="T15" fmla="*/ 32 h 1818"/>
                <a:gd name="T16" fmla="*/ 71 w 884"/>
                <a:gd name="T17" fmla="*/ 24 h 1818"/>
                <a:gd name="T18" fmla="*/ 58 w 884"/>
                <a:gd name="T19" fmla="*/ 16 h 1818"/>
                <a:gd name="T20" fmla="*/ 46 w 884"/>
                <a:gd name="T21" fmla="*/ 10 h 1818"/>
                <a:gd name="T22" fmla="*/ 40 w 884"/>
                <a:gd name="T23" fmla="*/ 1 h 1818"/>
                <a:gd name="T24" fmla="*/ 31 w 884"/>
                <a:gd name="T25" fmla="*/ 2 h 1818"/>
                <a:gd name="T26" fmla="*/ 25 w 884"/>
                <a:gd name="T27" fmla="*/ 3 h 1818"/>
                <a:gd name="T28" fmla="*/ 18 w 884"/>
                <a:gd name="T29" fmla="*/ 1 h 1818"/>
                <a:gd name="T30" fmla="*/ 10 w 884"/>
                <a:gd name="T31" fmla="*/ 6 h 1818"/>
                <a:gd name="T32" fmla="*/ 7 w 884"/>
                <a:gd name="T33" fmla="*/ 13 h 1818"/>
                <a:gd name="T34" fmla="*/ 3 w 884"/>
                <a:gd name="T35" fmla="*/ 20 h 1818"/>
                <a:gd name="T36" fmla="*/ 6 w 884"/>
                <a:gd name="T37" fmla="*/ 28 h 1818"/>
                <a:gd name="T38" fmla="*/ 6 w 884"/>
                <a:gd name="T39" fmla="*/ 35 h 1818"/>
                <a:gd name="T40" fmla="*/ 0 w 884"/>
                <a:gd name="T41" fmla="*/ 48 h 1818"/>
                <a:gd name="T42" fmla="*/ 1 w 884"/>
                <a:gd name="T43" fmla="*/ 68 h 1818"/>
                <a:gd name="T44" fmla="*/ 8 w 884"/>
                <a:gd name="T45" fmla="*/ 77 h 1818"/>
                <a:gd name="T46" fmla="*/ 7 w 884"/>
                <a:gd name="T47" fmla="*/ 84 h 1818"/>
                <a:gd name="T48" fmla="*/ 7 w 884"/>
                <a:gd name="T49" fmla="*/ 90 h 1818"/>
                <a:gd name="T50" fmla="*/ 9 w 884"/>
                <a:gd name="T51" fmla="*/ 94 h 1818"/>
                <a:gd name="T52" fmla="*/ 6 w 884"/>
                <a:gd name="T53" fmla="*/ 100 h 1818"/>
                <a:gd name="T54" fmla="*/ 9 w 884"/>
                <a:gd name="T55" fmla="*/ 109 h 1818"/>
                <a:gd name="T56" fmla="*/ 9 w 884"/>
                <a:gd name="T57" fmla="*/ 117 h 1818"/>
                <a:gd name="T58" fmla="*/ 9 w 884"/>
                <a:gd name="T59" fmla="*/ 128 h 1818"/>
                <a:gd name="T60" fmla="*/ 15 w 884"/>
                <a:gd name="T61" fmla="*/ 141 h 1818"/>
                <a:gd name="T62" fmla="*/ 21 w 884"/>
                <a:gd name="T63" fmla="*/ 155 h 1818"/>
                <a:gd name="T64" fmla="*/ 23 w 884"/>
                <a:gd name="T65" fmla="*/ 163 h 1818"/>
                <a:gd name="T66" fmla="*/ 25 w 884"/>
                <a:gd name="T67" fmla="*/ 170 h 1818"/>
                <a:gd name="T68" fmla="*/ 23 w 884"/>
                <a:gd name="T69" fmla="*/ 177 h 1818"/>
                <a:gd name="T70" fmla="*/ 22 w 884"/>
                <a:gd name="T71" fmla="*/ 183 h 1818"/>
                <a:gd name="T72" fmla="*/ 25 w 884"/>
                <a:gd name="T73" fmla="*/ 191 h 1818"/>
                <a:gd name="T74" fmla="*/ 33 w 884"/>
                <a:gd name="T75" fmla="*/ 197 h 1818"/>
                <a:gd name="T76" fmla="*/ 42 w 884"/>
                <a:gd name="T77" fmla="*/ 200 h 1818"/>
                <a:gd name="T78" fmla="*/ 49 w 884"/>
                <a:gd name="T79" fmla="*/ 198 h 1818"/>
                <a:gd name="T80" fmla="*/ 49 w 884"/>
                <a:gd name="T81" fmla="*/ 189 h 1818"/>
                <a:gd name="T82" fmla="*/ 51 w 884"/>
                <a:gd name="T83" fmla="*/ 179 h 1818"/>
                <a:gd name="T84" fmla="*/ 53 w 884"/>
                <a:gd name="T85" fmla="*/ 168 h 1818"/>
                <a:gd name="T86" fmla="*/ 45 w 884"/>
                <a:gd name="T87" fmla="*/ 165 h 1818"/>
                <a:gd name="T88" fmla="*/ 43 w 884"/>
                <a:gd name="T89" fmla="*/ 159 h 1818"/>
                <a:gd name="T90" fmla="*/ 49 w 884"/>
                <a:gd name="T91" fmla="*/ 155 h 1818"/>
                <a:gd name="T92" fmla="*/ 52 w 884"/>
                <a:gd name="T93" fmla="*/ 148 h 1818"/>
                <a:gd name="T94" fmla="*/ 49 w 884"/>
                <a:gd name="T95" fmla="*/ 136 h 1818"/>
                <a:gd name="T96" fmla="*/ 46 w 884"/>
                <a:gd name="T97" fmla="*/ 127 h 1818"/>
                <a:gd name="T98" fmla="*/ 56 w 884"/>
                <a:gd name="T99" fmla="*/ 130 h 1818"/>
                <a:gd name="T100" fmla="*/ 61 w 884"/>
                <a:gd name="T101" fmla="*/ 128 h 1818"/>
                <a:gd name="T102" fmla="*/ 60 w 884"/>
                <a:gd name="T103" fmla="*/ 120 h 1818"/>
                <a:gd name="T104" fmla="*/ 61 w 884"/>
                <a:gd name="T105" fmla="*/ 114 h 1818"/>
                <a:gd name="T106" fmla="*/ 73 w 884"/>
                <a:gd name="T107" fmla="*/ 114 h 1818"/>
                <a:gd name="T108" fmla="*/ 86 w 884"/>
                <a:gd name="T109" fmla="*/ 108 h 1818"/>
                <a:gd name="T110" fmla="*/ 88 w 884"/>
                <a:gd name="T111" fmla="*/ 98 h 1818"/>
                <a:gd name="T112" fmla="*/ 84 w 884"/>
                <a:gd name="T113" fmla="*/ 95 h 1818"/>
                <a:gd name="T114" fmla="*/ 82 w 884"/>
                <a:gd name="T115" fmla="*/ 90 h 1818"/>
                <a:gd name="T116" fmla="*/ 74 w 884"/>
                <a:gd name="T117" fmla="*/ 84 h 1818"/>
                <a:gd name="T118" fmla="*/ 75 w 884"/>
                <a:gd name="T119" fmla="*/ 59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0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330282" y="4889344"/>
            <a:ext cx="123825" cy="109538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796882" y="4462307"/>
            <a:ext cx="209550" cy="150812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654007" y="4794094"/>
            <a:ext cx="82550" cy="87313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3018882" y="6230782"/>
            <a:ext cx="82550" cy="57150"/>
          </a:xfrm>
          <a:custGeom>
            <a:avLst/>
            <a:gdLst>
              <a:gd name="T0" fmla="*/ 30136963 w 186"/>
              <a:gd name="T1" fmla="*/ 6341452 h 104"/>
              <a:gd name="T2" fmla="*/ 28758023 w 186"/>
              <a:gd name="T3" fmla="*/ 6341452 h 104"/>
              <a:gd name="T4" fmla="*/ 27773193 w 186"/>
              <a:gd name="T5" fmla="*/ 6039216 h 104"/>
              <a:gd name="T6" fmla="*/ 26788363 w 186"/>
              <a:gd name="T7" fmla="*/ 5435295 h 104"/>
              <a:gd name="T8" fmla="*/ 26197642 w 186"/>
              <a:gd name="T9" fmla="*/ 4529687 h 104"/>
              <a:gd name="T10" fmla="*/ 25606477 w 186"/>
              <a:gd name="T11" fmla="*/ 3925765 h 104"/>
              <a:gd name="T12" fmla="*/ 24621647 w 186"/>
              <a:gd name="T13" fmla="*/ 3321844 h 104"/>
              <a:gd name="T14" fmla="*/ 23636817 w 186"/>
              <a:gd name="T15" fmla="*/ 3019608 h 104"/>
              <a:gd name="T16" fmla="*/ 22257877 w 186"/>
              <a:gd name="T17" fmla="*/ 2717922 h 104"/>
              <a:gd name="T18" fmla="*/ 19697495 w 186"/>
              <a:gd name="T19" fmla="*/ 2415687 h 104"/>
              <a:gd name="T20" fmla="*/ 17333725 w 186"/>
              <a:gd name="T21" fmla="*/ 1811765 h 104"/>
              <a:gd name="T22" fmla="*/ 14772899 w 186"/>
              <a:gd name="T23" fmla="*/ 906157 h 104"/>
              <a:gd name="T24" fmla="*/ 12606184 w 186"/>
              <a:gd name="T25" fmla="*/ 302236 h 104"/>
              <a:gd name="T26" fmla="*/ 11818408 w 186"/>
              <a:gd name="T27" fmla="*/ 0 h 104"/>
              <a:gd name="T28" fmla="*/ 10636523 w 186"/>
              <a:gd name="T29" fmla="*/ 0 h 104"/>
              <a:gd name="T30" fmla="*/ 10045802 w 186"/>
              <a:gd name="T31" fmla="*/ 302236 h 104"/>
              <a:gd name="T32" fmla="*/ 9060972 w 186"/>
              <a:gd name="T33" fmla="*/ 603922 h 104"/>
              <a:gd name="T34" fmla="*/ 8666862 w 186"/>
              <a:gd name="T35" fmla="*/ 1207843 h 104"/>
              <a:gd name="T36" fmla="*/ 8272753 w 186"/>
              <a:gd name="T37" fmla="*/ 1811765 h 104"/>
              <a:gd name="T38" fmla="*/ 8076142 w 186"/>
              <a:gd name="T39" fmla="*/ 3019608 h 104"/>
              <a:gd name="T40" fmla="*/ 7879087 w 186"/>
              <a:gd name="T41" fmla="*/ 4529687 h 104"/>
              <a:gd name="T42" fmla="*/ 6697202 w 186"/>
              <a:gd name="T43" fmla="*/ 8153217 h 104"/>
              <a:gd name="T44" fmla="*/ 3939322 w 186"/>
              <a:gd name="T45" fmla="*/ 14192433 h 104"/>
              <a:gd name="T46" fmla="*/ 1378940 w 186"/>
              <a:gd name="T47" fmla="*/ 19929963 h 104"/>
              <a:gd name="T48" fmla="*/ 0 w 186"/>
              <a:gd name="T49" fmla="*/ 23251807 h 104"/>
              <a:gd name="T50" fmla="*/ 1575995 w 186"/>
              <a:gd name="T51" fmla="*/ 23251807 h 104"/>
              <a:gd name="T52" fmla="*/ 3151546 w 186"/>
              <a:gd name="T53" fmla="*/ 23553493 h 104"/>
              <a:gd name="T54" fmla="*/ 4136376 w 186"/>
              <a:gd name="T55" fmla="*/ 23855729 h 104"/>
              <a:gd name="T56" fmla="*/ 4924152 w 186"/>
              <a:gd name="T57" fmla="*/ 24459650 h 104"/>
              <a:gd name="T58" fmla="*/ 6500147 w 186"/>
              <a:gd name="T59" fmla="*/ 25667494 h 104"/>
              <a:gd name="T60" fmla="*/ 7879087 w 186"/>
              <a:gd name="T61" fmla="*/ 26875337 h 104"/>
              <a:gd name="T62" fmla="*/ 8863917 w 186"/>
              <a:gd name="T63" fmla="*/ 28385416 h 104"/>
              <a:gd name="T64" fmla="*/ 10242413 w 186"/>
              <a:gd name="T65" fmla="*/ 29593259 h 104"/>
              <a:gd name="T66" fmla="*/ 11030633 w 186"/>
              <a:gd name="T67" fmla="*/ 30197181 h 104"/>
              <a:gd name="T68" fmla="*/ 12015463 w 186"/>
              <a:gd name="T69" fmla="*/ 30498867 h 104"/>
              <a:gd name="T70" fmla="*/ 13000294 w 186"/>
              <a:gd name="T71" fmla="*/ 30801102 h 104"/>
              <a:gd name="T72" fmla="*/ 14575845 w 186"/>
              <a:gd name="T73" fmla="*/ 30801102 h 104"/>
              <a:gd name="T74" fmla="*/ 21075991 w 186"/>
              <a:gd name="T75" fmla="*/ 31102788 h 104"/>
              <a:gd name="T76" fmla="*/ 25803532 w 186"/>
              <a:gd name="T77" fmla="*/ 31405024 h 104"/>
              <a:gd name="T78" fmla="*/ 26591308 w 186"/>
              <a:gd name="T79" fmla="*/ 31102788 h 104"/>
              <a:gd name="T80" fmla="*/ 27379527 w 186"/>
              <a:gd name="T81" fmla="*/ 30801102 h 104"/>
              <a:gd name="T82" fmla="*/ 27970248 w 186"/>
              <a:gd name="T83" fmla="*/ 30197181 h 104"/>
              <a:gd name="T84" fmla="*/ 28560969 w 186"/>
              <a:gd name="T85" fmla="*/ 29291024 h 104"/>
              <a:gd name="T86" fmla="*/ 28955078 w 186"/>
              <a:gd name="T87" fmla="*/ 28385416 h 104"/>
              <a:gd name="T88" fmla="*/ 29546243 w 186"/>
              <a:gd name="T89" fmla="*/ 26573651 h 104"/>
              <a:gd name="T90" fmla="*/ 29939909 w 186"/>
              <a:gd name="T91" fmla="*/ 25063572 h 104"/>
              <a:gd name="T92" fmla="*/ 30136963 w 186"/>
              <a:gd name="T93" fmla="*/ 23251807 h 104"/>
              <a:gd name="T94" fmla="*/ 36637110 w 186"/>
              <a:gd name="T95" fmla="*/ 8153217 h 104"/>
              <a:gd name="T96" fmla="*/ 30136963 w 186"/>
              <a:gd name="T97" fmla="*/ 6341452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812757" y="4829019"/>
            <a:ext cx="133350" cy="96838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168232" y="5756119"/>
            <a:ext cx="177800" cy="165100"/>
          </a:xfrm>
          <a:custGeom>
            <a:avLst/>
            <a:gdLst>
              <a:gd name="T0" fmla="*/ 1156359 w 405"/>
              <a:gd name="T1" fmla="*/ 71880018 h 314"/>
              <a:gd name="T2" fmla="*/ 2505443 w 405"/>
              <a:gd name="T3" fmla="*/ 65521565 h 314"/>
              <a:gd name="T4" fmla="*/ 3276349 w 405"/>
              <a:gd name="T5" fmla="*/ 55845338 h 314"/>
              <a:gd name="T6" fmla="*/ 4432708 w 405"/>
              <a:gd name="T7" fmla="*/ 47827998 h 314"/>
              <a:gd name="T8" fmla="*/ 6167245 w 405"/>
              <a:gd name="T9" fmla="*/ 44786793 h 314"/>
              <a:gd name="T10" fmla="*/ 9251307 w 405"/>
              <a:gd name="T11" fmla="*/ 41469019 h 314"/>
              <a:gd name="T12" fmla="*/ 13876741 w 405"/>
              <a:gd name="T13" fmla="*/ 38980951 h 314"/>
              <a:gd name="T14" fmla="*/ 17923996 w 405"/>
              <a:gd name="T15" fmla="*/ 37046021 h 314"/>
              <a:gd name="T16" fmla="*/ 20043987 w 405"/>
              <a:gd name="T17" fmla="*/ 34557954 h 314"/>
              <a:gd name="T18" fmla="*/ 21778524 w 405"/>
              <a:gd name="T19" fmla="*/ 31516749 h 314"/>
              <a:gd name="T20" fmla="*/ 23706228 w 405"/>
              <a:gd name="T21" fmla="*/ 25710907 h 314"/>
              <a:gd name="T22" fmla="*/ 26211671 w 405"/>
              <a:gd name="T23" fmla="*/ 19075885 h 314"/>
              <a:gd name="T24" fmla="*/ 28331662 w 405"/>
              <a:gd name="T25" fmla="*/ 15205500 h 314"/>
              <a:gd name="T26" fmla="*/ 29873473 w 405"/>
              <a:gd name="T27" fmla="*/ 14099750 h 314"/>
              <a:gd name="T28" fmla="*/ 32764369 w 405"/>
              <a:gd name="T29" fmla="*/ 14099750 h 314"/>
              <a:gd name="T30" fmla="*/ 36426171 w 405"/>
              <a:gd name="T31" fmla="*/ 13270044 h 314"/>
              <a:gd name="T32" fmla="*/ 41052044 w 405"/>
              <a:gd name="T33" fmla="*/ 9676227 h 314"/>
              <a:gd name="T34" fmla="*/ 45677479 w 405"/>
              <a:gd name="T35" fmla="*/ 5529273 h 314"/>
              <a:gd name="T36" fmla="*/ 49532007 w 405"/>
              <a:gd name="T37" fmla="*/ 3041205 h 314"/>
              <a:gd name="T38" fmla="*/ 54350167 w 405"/>
              <a:gd name="T39" fmla="*/ 1105749 h 314"/>
              <a:gd name="T40" fmla="*/ 60517852 w 405"/>
              <a:gd name="T41" fmla="*/ 0 h 314"/>
              <a:gd name="T42" fmla="*/ 63986927 w 405"/>
              <a:gd name="T43" fmla="*/ 3870386 h 314"/>
              <a:gd name="T44" fmla="*/ 64950560 w 405"/>
              <a:gd name="T45" fmla="*/ 9399658 h 314"/>
              <a:gd name="T46" fmla="*/ 66106918 w 405"/>
              <a:gd name="T47" fmla="*/ 13823182 h 314"/>
              <a:gd name="T48" fmla="*/ 67841456 w 405"/>
              <a:gd name="T49" fmla="*/ 17140430 h 314"/>
              <a:gd name="T50" fmla="*/ 70925518 w 405"/>
              <a:gd name="T51" fmla="*/ 20458204 h 314"/>
              <a:gd name="T52" fmla="*/ 73623687 w 405"/>
              <a:gd name="T53" fmla="*/ 23499409 h 314"/>
              <a:gd name="T54" fmla="*/ 75165499 w 405"/>
              <a:gd name="T55" fmla="*/ 25710907 h 314"/>
              <a:gd name="T56" fmla="*/ 76321857 w 405"/>
              <a:gd name="T57" fmla="*/ 31793318 h 314"/>
              <a:gd name="T58" fmla="*/ 76707310 w 405"/>
              <a:gd name="T59" fmla="*/ 39534089 h 314"/>
              <a:gd name="T60" fmla="*/ 76707310 w 405"/>
              <a:gd name="T61" fmla="*/ 46998291 h 314"/>
              <a:gd name="T62" fmla="*/ 77478216 w 405"/>
              <a:gd name="T63" fmla="*/ 54186451 h 314"/>
              <a:gd name="T64" fmla="*/ 76707310 w 405"/>
              <a:gd name="T65" fmla="*/ 59992292 h 314"/>
              <a:gd name="T66" fmla="*/ 73623687 w 405"/>
              <a:gd name="T67" fmla="*/ 62480360 h 314"/>
              <a:gd name="T68" fmla="*/ 70347338 w 405"/>
              <a:gd name="T69" fmla="*/ 66627314 h 314"/>
              <a:gd name="T70" fmla="*/ 69961446 w 405"/>
              <a:gd name="T71" fmla="*/ 65521565 h 314"/>
              <a:gd name="T72" fmla="*/ 68997814 w 405"/>
              <a:gd name="T73" fmla="*/ 64415816 h 314"/>
              <a:gd name="T74" fmla="*/ 65914192 w 405"/>
              <a:gd name="T75" fmla="*/ 62756929 h 314"/>
              <a:gd name="T76" fmla="*/ 61481484 w 405"/>
              <a:gd name="T77" fmla="*/ 61651179 h 314"/>
              <a:gd name="T78" fmla="*/ 29295294 w 405"/>
              <a:gd name="T79" fmla="*/ 66627314 h 314"/>
              <a:gd name="T80" fmla="*/ 28909841 w 405"/>
              <a:gd name="T81" fmla="*/ 71050838 h 314"/>
              <a:gd name="T82" fmla="*/ 28909841 w 405"/>
              <a:gd name="T83" fmla="*/ 75750404 h 314"/>
              <a:gd name="T84" fmla="*/ 29295294 w 405"/>
              <a:gd name="T85" fmla="*/ 86808949 h 314"/>
              <a:gd name="T86" fmla="*/ 26789850 w 405"/>
              <a:gd name="T87" fmla="*/ 86255811 h 314"/>
              <a:gd name="T88" fmla="*/ 24284407 w 405"/>
              <a:gd name="T89" fmla="*/ 84320882 h 314"/>
              <a:gd name="T90" fmla="*/ 19273081 w 405"/>
              <a:gd name="T91" fmla="*/ 80173927 h 314"/>
              <a:gd name="T92" fmla="*/ 17153090 w 405"/>
              <a:gd name="T93" fmla="*/ 84873493 h 314"/>
              <a:gd name="T94" fmla="*/ 15804005 w 405"/>
              <a:gd name="T95" fmla="*/ 86255811 h 314"/>
              <a:gd name="T96" fmla="*/ 14069468 w 405"/>
              <a:gd name="T97" fmla="*/ 86808949 h 314"/>
              <a:gd name="T98" fmla="*/ 11564024 w 405"/>
              <a:gd name="T99" fmla="*/ 85979768 h 314"/>
              <a:gd name="T100" fmla="*/ 9058581 w 405"/>
              <a:gd name="T101" fmla="*/ 83491175 h 314"/>
              <a:gd name="T102" fmla="*/ 5396340 w 405"/>
              <a:gd name="T103" fmla="*/ 80450496 h 314"/>
              <a:gd name="T104" fmla="*/ 0 w 405"/>
              <a:gd name="T105" fmla="*/ 78515040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515894" y="5824382"/>
            <a:ext cx="193675" cy="349250"/>
          </a:xfrm>
          <a:custGeom>
            <a:avLst/>
            <a:gdLst>
              <a:gd name="T0" fmla="*/ 61234220 w 453"/>
              <a:gd name="T1" fmla="*/ 10050052 h 661"/>
              <a:gd name="T2" fmla="*/ 58675402 w 453"/>
              <a:gd name="T3" fmla="*/ 27358797 h 661"/>
              <a:gd name="T4" fmla="*/ 50632545 w 453"/>
              <a:gd name="T5" fmla="*/ 45225497 h 661"/>
              <a:gd name="T6" fmla="*/ 46245571 w 453"/>
              <a:gd name="T7" fmla="*/ 61138300 h 661"/>
              <a:gd name="T8" fmla="*/ 42407129 w 453"/>
              <a:gd name="T9" fmla="*/ 75934664 h 661"/>
              <a:gd name="T10" fmla="*/ 38203142 w 453"/>
              <a:gd name="T11" fmla="*/ 91846938 h 661"/>
              <a:gd name="T12" fmla="*/ 35826882 w 453"/>
              <a:gd name="T13" fmla="*/ 101060058 h 661"/>
              <a:gd name="T14" fmla="*/ 32902090 w 453"/>
              <a:gd name="T15" fmla="*/ 106084820 h 661"/>
              <a:gd name="T16" fmla="*/ 30525831 w 453"/>
              <a:gd name="T17" fmla="*/ 108876706 h 661"/>
              <a:gd name="T18" fmla="*/ 25773311 w 453"/>
              <a:gd name="T19" fmla="*/ 106643303 h 661"/>
              <a:gd name="T20" fmla="*/ 22117428 w 453"/>
              <a:gd name="T21" fmla="*/ 103292933 h 661"/>
              <a:gd name="T22" fmla="*/ 17182350 w 453"/>
              <a:gd name="T23" fmla="*/ 102455473 h 661"/>
              <a:gd name="T24" fmla="*/ 11698312 w 453"/>
              <a:gd name="T25" fmla="*/ 106084820 h 661"/>
              <a:gd name="T26" fmla="*/ 8042857 w 453"/>
              <a:gd name="T27" fmla="*/ 112506053 h 661"/>
              <a:gd name="T28" fmla="*/ 3838442 w 453"/>
              <a:gd name="T29" fmla="*/ 126743406 h 661"/>
              <a:gd name="T30" fmla="*/ 1279623 w 453"/>
              <a:gd name="T31" fmla="*/ 134560054 h 661"/>
              <a:gd name="T32" fmla="*/ 182987 w 453"/>
              <a:gd name="T33" fmla="*/ 139585345 h 661"/>
              <a:gd name="T34" fmla="*/ 1462182 w 453"/>
              <a:gd name="T35" fmla="*/ 144331129 h 661"/>
              <a:gd name="T36" fmla="*/ 3655883 w 453"/>
              <a:gd name="T37" fmla="*/ 146844038 h 661"/>
              <a:gd name="T38" fmla="*/ 10053571 w 453"/>
              <a:gd name="T39" fmla="*/ 146844038 h 661"/>
              <a:gd name="T40" fmla="*/ 12977935 w 453"/>
              <a:gd name="T41" fmla="*/ 152985766 h 661"/>
              <a:gd name="T42" fmla="*/ 13343481 w 453"/>
              <a:gd name="T43" fmla="*/ 164710738 h 661"/>
              <a:gd name="T44" fmla="*/ 12246844 w 453"/>
              <a:gd name="T45" fmla="*/ 175877756 h 661"/>
              <a:gd name="T46" fmla="*/ 79147662 w 453"/>
              <a:gd name="T47" fmla="*/ 184531865 h 661"/>
              <a:gd name="T48" fmla="*/ 80792830 w 453"/>
              <a:gd name="T49" fmla="*/ 162477335 h 661"/>
              <a:gd name="T50" fmla="*/ 75857752 w 453"/>
              <a:gd name="T51" fmla="*/ 158569011 h 661"/>
              <a:gd name="T52" fmla="*/ 68180441 w 453"/>
              <a:gd name="T53" fmla="*/ 155498147 h 661"/>
              <a:gd name="T54" fmla="*/ 64524558 w 453"/>
              <a:gd name="T55" fmla="*/ 153264743 h 661"/>
              <a:gd name="T56" fmla="*/ 62148298 w 453"/>
              <a:gd name="T57" fmla="*/ 149914902 h 661"/>
              <a:gd name="T58" fmla="*/ 60868675 w 453"/>
              <a:gd name="T59" fmla="*/ 143773174 h 661"/>
              <a:gd name="T60" fmla="*/ 60868675 w 453"/>
              <a:gd name="T61" fmla="*/ 129535293 h 661"/>
              <a:gd name="T62" fmla="*/ 61600194 w 453"/>
              <a:gd name="T63" fmla="*/ 119485241 h 661"/>
              <a:gd name="T64" fmla="*/ 64159012 w 453"/>
              <a:gd name="T65" fmla="*/ 110830604 h 661"/>
              <a:gd name="T66" fmla="*/ 68180441 w 453"/>
              <a:gd name="T67" fmla="*/ 101618012 h 661"/>
              <a:gd name="T68" fmla="*/ 71653337 w 453"/>
              <a:gd name="T69" fmla="*/ 92126444 h 661"/>
              <a:gd name="T70" fmla="*/ 72932960 w 453"/>
              <a:gd name="T71" fmla="*/ 82913852 h 661"/>
              <a:gd name="T72" fmla="*/ 71105232 w 453"/>
              <a:gd name="T73" fmla="*/ 74538721 h 661"/>
              <a:gd name="T74" fmla="*/ 68180441 w 453"/>
              <a:gd name="T75" fmla="*/ 68675970 h 661"/>
              <a:gd name="T76" fmla="*/ 62696830 w 453"/>
              <a:gd name="T77" fmla="*/ 60579817 h 661"/>
              <a:gd name="T78" fmla="*/ 60868675 w 453"/>
              <a:gd name="T79" fmla="*/ 53600629 h 661"/>
              <a:gd name="T80" fmla="*/ 61234220 w 453"/>
              <a:gd name="T81" fmla="*/ 48296361 h 661"/>
              <a:gd name="T82" fmla="*/ 64524558 w 453"/>
              <a:gd name="T83" fmla="*/ 45783980 h 661"/>
              <a:gd name="T84" fmla="*/ 74212583 w 453"/>
              <a:gd name="T85" fmla="*/ 45225497 h 661"/>
              <a:gd name="T86" fmla="*/ 72201869 w 453"/>
              <a:gd name="T87" fmla="*/ 42154634 h 661"/>
              <a:gd name="T88" fmla="*/ 69277077 w 453"/>
              <a:gd name="T89" fmla="*/ 32663065 h 661"/>
              <a:gd name="T90" fmla="*/ 67814895 w 453"/>
              <a:gd name="T91" fmla="*/ 20379609 h 661"/>
              <a:gd name="T92" fmla="*/ 68180441 w 453"/>
              <a:gd name="T93" fmla="*/ 12562433 h 661"/>
              <a:gd name="T94" fmla="*/ 67083804 w 453"/>
              <a:gd name="T95" fmla="*/ 3070864 h 661"/>
              <a:gd name="T96" fmla="*/ 63427921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966994" y="5583082"/>
            <a:ext cx="55563" cy="57150"/>
          </a:xfrm>
          <a:custGeom>
            <a:avLst/>
            <a:gdLst>
              <a:gd name="T0" fmla="*/ 0 w 126"/>
              <a:gd name="T1" fmla="*/ 16589829 h 105"/>
              <a:gd name="T2" fmla="*/ 777882 w 126"/>
              <a:gd name="T3" fmla="*/ 14516100 h 105"/>
              <a:gd name="T4" fmla="*/ 1944705 w 126"/>
              <a:gd name="T5" fmla="*/ 12146280 h 105"/>
              <a:gd name="T6" fmla="*/ 3111528 w 126"/>
              <a:gd name="T7" fmla="*/ 9775916 h 105"/>
              <a:gd name="T8" fmla="*/ 4666851 w 126"/>
              <a:gd name="T9" fmla="*/ 7406096 h 105"/>
              <a:gd name="T10" fmla="*/ 7194968 w 126"/>
              <a:gd name="T11" fmla="*/ 3258639 h 105"/>
              <a:gd name="T12" fmla="*/ 9139673 w 126"/>
              <a:gd name="T13" fmla="*/ 0 h 105"/>
              <a:gd name="T14" fmla="*/ 21973844 w 126"/>
              <a:gd name="T15" fmla="*/ 0 h 105"/>
              <a:gd name="T16" fmla="*/ 22168314 w 126"/>
              <a:gd name="T17" fmla="*/ 1184910 h 105"/>
              <a:gd name="T18" fmla="*/ 22362785 w 126"/>
              <a:gd name="T19" fmla="*/ 2369820 h 105"/>
              <a:gd name="T20" fmla="*/ 22751726 w 126"/>
              <a:gd name="T21" fmla="*/ 3554730 h 105"/>
              <a:gd name="T22" fmla="*/ 23140667 w 126"/>
              <a:gd name="T23" fmla="*/ 4147457 h 105"/>
              <a:gd name="T24" fmla="*/ 24113019 w 126"/>
              <a:gd name="T25" fmla="*/ 5925094 h 105"/>
              <a:gd name="T26" fmla="*/ 24501960 w 126"/>
              <a:gd name="T27" fmla="*/ 7110004 h 105"/>
              <a:gd name="T28" fmla="*/ 24501960 w 126"/>
              <a:gd name="T29" fmla="*/ 9479824 h 105"/>
              <a:gd name="T30" fmla="*/ 24307490 w 126"/>
              <a:gd name="T31" fmla="*/ 12146280 h 105"/>
              <a:gd name="T32" fmla="*/ 24113019 w 126"/>
              <a:gd name="T33" fmla="*/ 14220009 h 105"/>
              <a:gd name="T34" fmla="*/ 23724078 w 126"/>
              <a:gd name="T35" fmla="*/ 16293737 h 105"/>
              <a:gd name="T36" fmla="*/ 23140667 w 126"/>
              <a:gd name="T37" fmla="*/ 18367466 h 105"/>
              <a:gd name="T38" fmla="*/ 22557255 w 126"/>
              <a:gd name="T39" fmla="*/ 20441194 h 105"/>
              <a:gd name="T40" fmla="*/ 21779373 w 126"/>
              <a:gd name="T41" fmla="*/ 22218287 h 105"/>
              <a:gd name="T42" fmla="*/ 21001491 w 126"/>
              <a:gd name="T43" fmla="*/ 23995924 h 105"/>
              <a:gd name="T44" fmla="*/ 20224050 w 126"/>
              <a:gd name="T45" fmla="*/ 25477470 h 105"/>
              <a:gd name="T46" fmla="*/ 19251698 w 126"/>
              <a:gd name="T47" fmla="*/ 26662380 h 105"/>
              <a:gd name="T48" fmla="*/ 18084875 w 126"/>
              <a:gd name="T49" fmla="*/ 27847290 h 105"/>
              <a:gd name="T50" fmla="*/ 17112522 w 126"/>
              <a:gd name="T51" fmla="*/ 29328291 h 105"/>
              <a:gd name="T52" fmla="*/ 15751229 w 126"/>
              <a:gd name="T53" fmla="*/ 29921019 h 105"/>
              <a:gd name="T54" fmla="*/ 14389935 w 126"/>
              <a:gd name="T55" fmla="*/ 30513201 h 105"/>
              <a:gd name="T56" fmla="*/ 13028642 w 126"/>
              <a:gd name="T57" fmla="*/ 31105929 h 105"/>
              <a:gd name="T58" fmla="*/ 11667789 w 126"/>
              <a:gd name="T59" fmla="*/ 31105929 h 105"/>
              <a:gd name="T60" fmla="*/ 9334143 w 126"/>
              <a:gd name="T61" fmla="*/ 30809837 h 105"/>
              <a:gd name="T62" fmla="*/ 7389438 w 126"/>
              <a:gd name="T63" fmla="*/ 30217110 h 105"/>
              <a:gd name="T64" fmla="*/ 6028145 w 126"/>
              <a:gd name="T65" fmla="*/ 29032200 h 105"/>
              <a:gd name="T66" fmla="*/ 4666851 w 126"/>
              <a:gd name="T67" fmla="*/ 27254563 h 105"/>
              <a:gd name="T68" fmla="*/ 3889410 w 126"/>
              <a:gd name="T69" fmla="*/ 25477470 h 105"/>
              <a:gd name="T70" fmla="*/ 3111528 w 126"/>
              <a:gd name="T71" fmla="*/ 23107106 h 105"/>
              <a:gd name="T72" fmla="*/ 2722587 w 126"/>
              <a:gd name="T73" fmla="*/ 20737286 h 105"/>
              <a:gd name="T74" fmla="*/ 2528117 w 126"/>
              <a:gd name="T75" fmla="*/ 18367466 h 105"/>
              <a:gd name="T76" fmla="*/ 0 w 126"/>
              <a:gd name="T77" fmla="*/ 16589829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321969" y="5846607"/>
            <a:ext cx="298450" cy="523875"/>
          </a:xfrm>
          <a:custGeom>
            <a:avLst/>
            <a:gdLst>
              <a:gd name="T0" fmla="*/ 127747945 w 684"/>
              <a:gd name="T1" fmla="*/ 157887946 h 998"/>
              <a:gd name="T2" fmla="*/ 129461414 w 684"/>
              <a:gd name="T3" fmla="*/ 151550528 h 998"/>
              <a:gd name="T4" fmla="*/ 127747945 w 684"/>
              <a:gd name="T5" fmla="*/ 135293081 h 998"/>
              <a:gd name="T6" fmla="*/ 125463319 w 684"/>
              <a:gd name="T7" fmla="*/ 116555888 h 998"/>
              <a:gd name="T8" fmla="*/ 129080498 w 684"/>
              <a:gd name="T9" fmla="*/ 107187555 h 998"/>
              <a:gd name="T10" fmla="*/ 106043997 w 684"/>
              <a:gd name="T11" fmla="*/ 99472209 h 998"/>
              <a:gd name="T12" fmla="*/ 101474745 w 684"/>
              <a:gd name="T13" fmla="*/ 89828290 h 998"/>
              <a:gd name="T14" fmla="*/ 87957666 w 684"/>
              <a:gd name="T15" fmla="*/ 85419446 h 998"/>
              <a:gd name="T16" fmla="*/ 76534535 w 684"/>
              <a:gd name="T17" fmla="*/ 74397599 h 998"/>
              <a:gd name="T18" fmla="*/ 71394127 w 684"/>
              <a:gd name="T19" fmla="*/ 55384821 h 998"/>
              <a:gd name="T20" fmla="*/ 71394127 w 684"/>
              <a:gd name="T21" fmla="*/ 36647628 h 998"/>
              <a:gd name="T22" fmla="*/ 75201982 w 684"/>
              <a:gd name="T23" fmla="*/ 23146036 h 998"/>
              <a:gd name="T24" fmla="*/ 82817257 w 684"/>
              <a:gd name="T25" fmla="*/ 13226007 h 998"/>
              <a:gd name="T26" fmla="*/ 88147906 w 684"/>
              <a:gd name="T27" fmla="*/ 3030916 h 998"/>
              <a:gd name="T28" fmla="*/ 74059669 w 684"/>
              <a:gd name="T29" fmla="*/ 10746262 h 998"/>
              <a:gd name="T30" fmla="*/ 63778852 w 684"/>
              <a:gd name="T31" fmla="*/ 18737193 h 998"/>
              <a:gd name="T32" fmla="*/ 57876611 w 684"/>
              <a:gd name="T33" fmla="*/ 21492523 h 998"/>
              <a:gd name="T34" fmla="*/ 52926879 w 684"/>
              <a:gd name="T35" fmla="*/ 23146036 h 998"/>
              <a:gd name="T36" fmla="*/ 45882761 w 684"/>
              <a:gd name="T37" fmla="*/ 22319280 h 998"/>
              <a:gd name="T38" fmla="*/ 41313508 w 684"/>
              <a:gd name="T39" fmla="*/ 29759040 h 998"/>
              <a:gd name="T40" fmla="*/ 37315413 w 684"/>
              <a:gd name="T41" fmla="*/ 48220647 h 998"/>
              <a:gd name="T42" fmla="*/ 29890378 w 684"/>
              <a:gd name="T43" fmla="*/ 62548995 h 998"/>
              <a:gd name="T44" fmla="*/ 20370958 w 684"/>
              <a:gd name="T45" fmla="*/ 78255272 h 998"/>
              <a:gd name="T46" fmla="*/ 17134695 w 684"/>
              <a:gd name="T47" fmla="*/ 87348020 h 998"/>
              <a:gd name="T48" fmla="*/ 16372862 w 684"/>
              <a:gd name="T49" fmla="*/ 98094281 h 998"/>
              <a:gd name="T50" fmla="*/ 18467248 w 684"/>
              <a:gd name="T51" fmla="*/ 105258456 h 998"/>
              <a:gd name="T52" fmla="*/ 18467248 w 684"/>
              <a:gd name="T53" fmla="*/ 124271234 h 998"/>
              <a:gd name="T54" fmla="*/ 18086332 w 684"/>
              <a:gd name="T55" fmla="*/ 144661940 h 998"/>
              <a:gd name="T56" fmla="*/ 13707756 w 684"/>
              <a:gd name="T57" fmla="*/ 155132616 h 998"/>
              <a:gd name="T58" fmla="*/ 7044118 w 684"/>
              <a:gd name="T59" fmla="*/ 163123547 h 998"/>
              <a:gd name="T60" fmla="*/ 2094386 w 684"/>
              <a:gd name="T61" fmla="*/ 168634208 h 998"/>
              <a:gd name="T62" fmla="*/ 5711565 w 684"/>
              <a:gd name="T63" fmla="*/ 184064899 h 998"/>
              <a:gd name="T64" fmla="*/ 23417417 w 684"/>
              <a:gd name="T65" fmla="*/ 199771175 h 998"/>
              <a:gd name="T66" fmla="*/ 33317317 w 684"/>
              <a:gd name="T67" fmla="*/ 200597407 h 998"/>
              <a:gd name="T68" fmla="*/ 44549771 w 684"/>
              <a:gd name="T69" fmla="*/ 205557422 h 998"/>
              <a:gd name="T70" fmla="*/ 56924974 w 684"/>
              <a:gd name="T71" fmla="*/ 219059014 h 998"/>
              <a:gd name="T72" fmla="*/ 64159332 w 684"/>
              <a:gd name="T73" fmla="*/ 234214119 h 998"/>
              <a:gd name="T74" fmla="*/ 69870897 w 684"/>
              <a:gd name="T75" fmla="*/ 242756221 h 998"/>
              <a:gd name="T76" fmla="*/ 78438245 w 684"/>
              <a:gd name="T77" fmla="*/ 244133624 h 998"/>
              <a:gd name="T78" fmla="*/ 87957666 w 684"/>
              <a:gd name="T79" fmla="*/ 241378293 h 998"/>
              <a:gd name="T80" fmla="*/ 93669231 w 684"/>
              <a:gd name="T81" fmla="*/ 241929464 h 998"/>
              <a:gd name="T82" fmla="*/ 98047806 w 684"/>
              <a:gd name="T83" fmla="*/ 249093639 h 998"/>
              <a:gd name="T84" fmla="*/ 97667326 w 684"/>
              <a:gd name="T85" fmla="*/ 254053654 h 998"/>
              <a:gd name="T86" fmla="*/ 92907398 w 684"/>
              <a:gd name="T87" fmla="*/ 258186912 h 998"/>
              <a:gd name="T88" fmla="*/ 92907398 w 684"/>
              <a:gd name="T89" fmla="*/ 265351086 h 998"/>
              <a:gd name="T90" fmla="*/ 97286410 w 684"/>
              <a:gd name="T91" fmla="*/ 273892663 h 998"/>
              <a:gd name="T92" fmla="*/ 103188215 w 684"/>
              <a:gd name="T93" fmla="*/ 265075501 h 998"/>
              <a:gd name="T94" fmla="*/ 107757467 w 684"/>
              <a:gd name="T95" fmla="*/ 237245035 h 998"/>
              <a:gd name="T96" fmla="*/ 108709540 w 684"/>
              <a:gd name="T97" fmla="*/ 221263698 h 998"/>
              <a:gd name="T98" fmla="*/ 105663081 w 684"/>
              <a:gd name="T99" fmla="*/ 212446010 h 998"/>
              <a:gd name="T100" fmla="*/ 99571036 w 684"/>
              <a:gd name="T101" fmla="*/ 206384178 h 998"/>
              <a:gd name="T102" fmla="*/ 99190119 w 684"/>
              <a:gd name="T103" fmla="*/ 199220004 h 998"/>
              <a:gd name="T104" fmla="*/ 107757467 w 684"/>
              <a:gd name="T105" fmla="*/ 192882061 h 998"/>
              <a:gd name="T106" fmla="*/ 105853757 w 684"/>
              <a:gd name="T107" fmla="*/ 183238142 h 998"/>
              <a:gd name="T108" fmla="*/ 105853757 w 684"/>
              <a:gd name="T109" fmla="*/ 178829298 h 998"/>
              <a:gd name="T110" fmla="*/ 124701486 w 684"/>
              <a:gd name="T111" fmla="*/ 173043051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574632" y="6114894"/>
            <a:ext cx="187325" cy="274638"/>
          </a:xfrm>
          <a:custGeom>
            <a:avLst/>
            <a:gdLst>
              <a:gd name="T0" fmla="*/ 81796400 w 429"/>
              <a:gd name="T1" fmla="*/ 6043608 h 524"/>
              <a:gd name="T2" fmla="*/ 81605582 w 429"/>
              <a:gd name="T3" fmla="*/ 11812055 h 524"/>
              <a:gd name="T4" fmla="*/ 80843182 w 429"/>
              <a:gd name="T5" fmla="*/ 14833597 h 524"/>
              <a:gd name="T6" fmla="*/ 79127128 w 429"/>
              <a:gd name="T7" fmla="*/ 18404939 h 524"/>
              <a:gd name="T8" fmla="*/ 78745928 w 429"/>
              <a:gd name="T9" fmla="*/ 22250919 h 524"/>
              <a:gd name="T10" fmla="*/ 78936310 w 429"/>
              <a:gd name="T11" fmla="*/ 43952038 h 524"/>
              <a:gd name="T12" fmla="*/ 77792274 w 429"/>
              <a:gd name="T13" fmla="*/ 56862645 h 524"/>
              <a:gd name="T14" fmla="*/ 75504201 w 429"/>
              <a:gd name="T15" fmla="*/ 66202957 h 524"/>
              <a:gd name="T16" fmla="*/ 70928493 w 429"/>
              <a:gd name="T17" fmla="*/ 76366660 h 524"/>
              <a:gd name="T18" fmla="*/ 64445477 w 429"/>
              <a:gd name="T19" fmla="*/ 84882534 h 524"/>
              <a:gd name="T20" fmla="*/ 60822987 w 429"/>
              <a:gd name="T21" fmla="*/ 91474895 h 524"/>
              <a:gd name="T22" fmla="*/ 59488132 w 429"/>
              <a:gd name="T23" fmla="*/ 113176538 h 524"/>
              <a:gd name="T24" fmla="*/ 57962896 w 429"/>
              <a:gd name="T25" fmla="*/ 120593336 h 524"/>
              <a:gd name="T26" fmla="*/ 55293624 w 429"/>
              <a:gd name="T27" fmla="*/ 123065602 h 524"/>
              <a:gd name="T28" fmla="*/ 51289498 w 429"/>
              <a:gd name="T29" fmla="*/ 124988592 h 524"/>
              <a:gd name="T30" fmla="*/ 48239026 w 429"/>
              <a:gd name="T31" fmla="*/ 129658487 h 524"/>
              <a:gd name="T32" fmla="*/ 44616099 w 429"/>
              <a:gd name="T33" fmla="*/ 137349923 h 524"/>
              <a:gd name="T34" fmla="*/ 42518845 w 429"/>
              <a:gd name="T35" fmla="*/ 138723637 h 524"/>
              <a:gd name="T36" fmla="*/ 38324337 w 429"/>
              <a:gd name="T37" fmla="*/ 138448999 h 524"/>
              <a:gd name="T38" fmla="*/ 36036265 w 429"/>
              <a:gd name="T39" fmla="*/ 136800647 h 524"/>
              <a:gd name="T40" fmla="*/ 27646812 w 429"/>
              <a:gd name="T41" fmla="*/ 137349923 h 524"/>
              <a:gd name="T42" fmla="*/ 23452304 w 429"/>
              <a:gd name="T43" fmla="*/ 137349923 h 524"/>
              <a:gd name="T44" fmla="*/ 21545432 w 429"/>
              <a:gd name="T45" fmla="*/ 135701571 h 524"/>
              <a:gd name="T46" fmla="*/ 18113323 w 429"/>
              <a:gd name="T47" fmla="*/ 135426933 h 524"/>
              <a:gd name="T48" fmla="*/ 14872033 w 429"/>
              <a:gd name="T49" fmla="*/ 137899199 h 524"/>
              <a:gd name="T50" fmla="*/ 11821561 w 429"/>
              <a:gd name="T51" fmla="*/ 142569093 h 524"/>
              <a:gd name="T52" fmla="*/ 5148163 w 429"/>
              <a:gd name="T53" fmla="*/ 134877657 h 524"/>
              <a:gd name="T54" fmla="*/ 1144036 w 429"/>
              <a:gd name="T55" fmla="*/ 122790964 h 524"/>
              <a:gd name="T56" fmla="*/ 4766526 w 429"/>
              <a:gd name="T57" fmla="*/ 118121070 h 524"/>
              <a:gd name="T58" fmla="*/ 8008253 w 429"/>
              <a:gd name="T59" fmla="*/ 116472718 h 524"/>
              <a:gd name="T60" fmla="*/ 11630743 w 429"/>
              <a:gd name="T61" fmla="*/ 117571794 h 524"/>
              <a:gd name="T62" fmla="*/ 11058725 w 429"/>
              <a:gd name="T63" fmla="*/ 114824366 h 524"/>
              <a:gd name="T64" fmla="*/ 8579834 w 429"/>
              <a:gd name="T65" fmla="*/ 106034377 h 524"/>
              <a:gd name="T66" fmla="*/ 8961471 w 429"/>
              <a:gd name="T67" fmla="*/ 100540045 h 524"/>
              <a:gd name="T68" fmla="*/ 10867907 w 429"/>
              <a:gd name="T69" fmla="*/ 97793141 h 524"/>
              <a:gd name="T70" fmla="*/ 13537615 w 429"/>
              <a:gd name="T71" fmla="*/ 96694589 h 524"/>
              <a:gd name="T72" fmla="*/ 16969287 w 429"/>
              <a:gd name="T73" fmla="*/ 92573971 h 524"/>
              <a:gd name="T74" fmla="*/ 19829377 w 429"/>
              <a:gd name="T75" fmla="*/ 91474895 h 524"/>
              <a:gd name="T76" fmla="*/ 21926631 w 429"/>
              <a:gd name="T77" fmla="*/ 93947161 h 524"/>
              <a:gd name="T78" fmla="*/ 25739940 w 429"/>
              <a:gd name="T79" fmla="*/ 98617055 h 524"/>
              <a:gd name="T80" fmla="*/ 29362866 w 429"/>
              <a:gd name="T81" fmla="*/ 96419951 h 524"/>
              <a:gd name="T82" fmla="*/ 34511029 w 429"/>
              <a:gd name="T83" fmla="*/ 96969227 h 524"/>
              <a:gd name="T84" fmla="*/ 37942701 w 429"/>
              <a:gd name="T85" fmla="*/ 93397885 h 524"/>
              <a:gd name="T86" fmla="*/ 40040391 w 429"/>
              <a:gd name="T87" fmla="*/ 86530362 h 524"/>
              <a:gd name="T88" fmla="*/ 40612409 w 429"/>
              <a:gd name="T89" fmla="*/ 79662840 h 524"/>
              <a:gd name="T90" fmla="*/ 40993609 w 429"/>
              <a:gd name="T91" fmla="*/ 73894394 h 524"/>
              <a:gd name="T92" fmla="*/ 38324337 w 429"/>
              <a:gd name="T93" fmla="*/ 64829243 h 524"/>
              <a:gd name="T94" fmla="*/ 35845447 w 429"/>
              <a:gd name="T95" fmla="*/ 55764093 h 524"/>
              <a:gd name="T96" fmla="*/ 39468373 w 429"/>
              <a:gd name="T97" fmla="*/ 48621932 h 524"/>
              <a:gd name="T98" fmla="*/ 40040391 w 429"/>
              <a:gd name="T99" fmla="*/ 45050590 h 524"/>
              <a:gd name="T100" fmla="*/ 38133519 w 429"/>
              <a:gd name="T101" fmla="*/ 42578324 h 524"/>
              <a:gd name="T102" fmla="*/ 37561501 w 429"/>
              <a:gd name="T103" fmla="*/ 37633792 h 524"/>
              <a:gd name="T104" fmla="*/ 35845447 w 429"/>
              <a:gd name="T105" fmla="*/ 35436164 h 524"/>
              <a:gd name="T106" fmla="*/ 30697284 w 429"/>
              <a:gd name="T107" fmla="*/ 36260602 h 524"/>
              <a:gd name="T108" fmla="*/ 26121576 w 429"/>
              <a:gd name="T109" fmla="*/ 35985964 h 524"/>
              <a:gd name="T110" fmla="*/ 23833504 w 429"/>
              <a:gd name="T111" fmla="*/ 32689260 h 524"/>
              <a:gd name="T112" fmla="*/ 23452304 w 429"/>
              <a:gd name="T113" fmla="*/ 28294003 h 524"/>
              <a:gd name="T114" fmla="*/ 25167922 w 429"/>
              <a:gd name="T115" fmla="*/ 20877205 h 524"/>
              <a:gd name="T116" fmla="*/ 58344096 w 429"/>
              <a:gd name="T117" fmla="*/ 10438340 h 524"/>
              <a:gd name="T118" fmla="*/ 61585823 w 429"/>
              <a:gd name="T119" fmla="*/ 4669894 h 524"/>
              <a:gd name="T120" fmla="*/ 65399131 w 429"/>
              <a:gd name="T121" fmla="*/ 1922990 h 524"/>
              <a:gd name="T122" fmla="*/ 71309693 w 429"/>
              <a:gd name="T123" fmla="*/ 1373714 h 524"/>
              <a:gd name="T124" fmla="*/ 77792274 w 429"/>
              <a:gd name="T125" fmla="*/ 1098552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606382" y="4757582"/>
            <a:ext cx="127000" cy="114300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557169" y="4616294"/>
            <a:ext cx="168275" cy="77788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520657" y="4471832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492082" y="4476594"/>
            <a:ext cx="25400" cy="58738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6 h 55"/>
              <a:gd name="T4" fmla="*/ 896197 w 60"/>
              <a:gd name="T5" fmla="*/ 36497657 h 55"/>
              <a:gd name="T6" fmla="*/ 1791970 w 60"/>
              <a:gd name="T7" fmla="*/ 45622339 h 55"/>
              <a:gd name="T8" fmla="*/ 2867237 w 60"/>
              <a:gd name="T9" fmla="*/ 51324196 h 55"/>
              <a:gd name="T10" fmla="*/ 3763433 w 60"/>
              <a:gd name="T11" fmla="*/ 55886537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3 w 60"/>
              <a:gd name="T17" fmla="*/ 62730048 h 55"/>
              <a:gd name="T18" fmla="*/ 8243570 w 60"/>
              <a:gd name="T19" fmla="*/ 62730048 h 55"/>
              <a:gd name="T20" fmla="*/ 9498330 w 60"/>
              <a:gd name="T21" fmla="*/ 59308293 h 55"/>
              <a:gd name="T22" fmla="*/ 10752667 w 60"/>
              <a:gd name="T23" fmla="*/ 55886537 h 55"/>
              <a:gd name="T24" fmla="*/ 8960697 w 60"/>
              <a:gd name="T25" fmla="*/ 38778828 h 55"/>
              <a:gd name="T26" fmla="*/ 7526867 w 60"/>
              <a:gd name="T27" fmla="*/ 25091806 h 55"/>
              <a:gd name="T28" fmla="*/ 6989233 w 60"/>
              <a:gd name="T29" fmla="*/ 19388880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5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461919" y="4422619"/>
            <a:ext cx="52388" cy="77788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893719" y="5227482"/>
            <a:ext cx="273050" cy="307975"/>
          </a:xfrm>
          <a:custGeom>
            <a:avLst/>
            <a:gdLst>
              <a:gd name="T0" fmla="*/ 3932180 w 631"/>
              <a:gd name="T1" fmla="*/ 541037 h 592"/>
              <a:gd name="T2" fmla="*/ 5991955 w 631"/>
              <a:gd name="T3" fmla="*/ 1082595 h 592"/>
              <a:gd name="T4" fmla="*/ 10111505 w 631"/>
              <a:gd name="T5" fmla="*/ 2165189 h 592"/>
              <a:gd name="T6" fmla="*/ 14605795 w 631"/>
              <a:gd name="T7" fmla="*/ 2977265 h 592"/>
              <a:gd name="T8" fmla="*/ 19473961 w 631"/>
              <a:gd name="T9" fmla="*/ 5141934 h 592"/>
              <a:gd name="T10" fmla="*/ 24342559 w 631"/>
              <a:gd name="T11" fmla="*/ 8660236 h 592"/>
              <a:gd name="T12" fmla="*/ 27338753 w 631"/>
              <a:gd name="T13" fmla="*/ 10825425 h 592"/>
              <a:gd name="T14" fmla="*/ 29772835 w 631"/>
              <a:gd name="T15" fmla="*/ 11637501 h 592"/>
              <a:gd name="T16" fmla="*/ 35390482 w 631"/>
              <a:gd name="T17" fmla="*/ 11637501 h 592"/>
              <a:gd name="T18" fmla="*/ 42506226 w 631"/>
              <a:gd name="T19" fmla="*/ 10013349 h 592"/>
              <a:gd name="T20" fmla="*/ 51868682 w 631"/>
              <a:gd name="T21" fmla="*/ 6224529 h 592"/>
              <a:gd name="T22" fmla="*/ 74713577 w 631"/>
              <a:gd name="T23" fmla="*/ 10284388 h 592"/>
              <a:gd name="T24" fmla="*/ 75462625 w 631"/>
              <a:gd name="T25" fmla="*/ 18674106 h 592"/>
              <a:gd name="T26" fmla="*/ 76773352 w 631"/>
              <a:gd name="T27" fmla="*/ 25710710 h 592"/>
              <a:gd name="T28" fmla="*/ 78084078 w 631"/>
              <a:gd name="T29" fmla="*/ 32205757 h 592"/>
              <a:gd name="T30" fmla="*/ 79956483 w 631"/>
              <a:gd name="T31" fmla="*/ 37889249 h 592"/>
              <a:gd name="T32" fmla="*/ 84263403 w 631"/>
              <a:gd name="T33" fmla="*/ 47361561 h 592"/>
              <a:gd name="T34" fmla="*/ 88382953 w 631"/>
              <a:gd name="T35" fmla="*/ 55210241 h 592"/>
              <a:gd name="T36" fmla="*/ 90255358 w 631"/>
              <a:gd name="T37" fmla="*/ 60081657 h 592"/>
              <a:gd name="T38" fmla="*/ 90817036 w 631"/>
              <a:gd name="T39" fmla="*/ 64953072 h 592"/>
              <a:gd name="T40" fmla="*/ 91940392 w 631"/>
              <a:gd name="T41" fmla="*/ 69012411 h 592"/>
              <a:gd name="T42" fmla="*/ 92876811 w 631"/>
              <a:gd name="T43" fmla="*/ 70636563 h 592"/>
              <a:gd name="T44" fmla="*/ 94562278 w 631"/>
              <a:gd name="T45" fmla="*/ 71989676 h 592"/>
              <a:gd name="T46" fmla="*/ 96059942 w 631"/>
              <a:gd name="T47" fmla="*/ 73072271 h 592"/>
              <a:gd name="T48" fmla="*/ 97183731 w 631"/>
              <a:gd name="T49" fmla="*/ 75236940 h 592"/>
              <a:gd name="T50" fmla="*/ 99805184 w 631"/>
              <a:gd name="T51" fmla="*/ 82003026 h 592"/>
              <a:gd name="T52" fmla="*/ 101303281 w 631"/>
              <a:gd name="T53" fmla="*/ 89580667 h 592"/>
              <a:gd name="T54" fmla="*/ 102052329 w 631"/>
              <a:gd name="T55" fmla="*/ 96888311 h 592"/>
              <a:gd name="T56" fmla="*/ 102614007 w 631"/>
              <a:gd name="T57" fmla="*/ 99594537 h 592"/>
              <a:gd name="T58" fmla="*/ 104299042 w 631"/>
              <a:gd name="T59" fmla="*/ 103112839 h 592"/>
              <a:gd name="T60" fmla="*/ 109167640 w 631"/>
              <a:gd name="T61" fmla="*/ 112314633 h 592"/>
              <a:gd name="T62" fmla="*/ 114597917 w 631"/>
              <a:gd name="T63" fmla="*/ 120974869 h 592"/>
              <a:gd name="T64" fmla="*/ 118155788 w 631"/>
              <a:gd name="T65" fmla="*/ 125305247 h 592"/>
              <a:gd name="T66" fmla="*/ 114597917 w 631"/>
              <a:gd name="T67" fmla="*/ 130176663 h 592"/>
              <a:gd name="T68" fmla="*/ 116845062 w 631"/>
              <a:gd name="T69" fmla="*/ 134236002 h 592"/>
              <a:gd name="T70" fmla="*/ 117219370 w 631"/>
              <a:gd name="T71" fmla="*/ 137213267 h 592"/>
              <a:gd name="T72" fmla="*/ 117219370 w 631"/>
              <a:gd name="T73" fmla="*/ 139648975 h 592"/>
              <a:gd name="T74" fmla="*/ 118155788 w 631"/>
              <a:gd name="T75" fmla="*/ 143708314 h 592"/>
              <a:gd name="T76" fmla="*/ 117219370 w 631"/>
              <a:gd name="T77" fmla="*/ 145873503 h 592"/>
              <a:gd name="T78" fmla="*/ 115534335 w 631"/>
              <a:gd name="T79" fmla="*/ 148309211 h 592"/>
              <a:gd name="T80" fmla="*/ 110853107 w 631"/>
              <a:gd name="T81" fmla="*/ 153992702 h 592"/>
              <a:gd name="T82" fmla="*/ 104486412 w 631"/>
              <a:gd name="T83" fmla="*/ 160217231 h 592"/>
              <a:gd name="T84" fmla="*/ 8613408 w 631"/>
              <a:gd name="T85" fmla="*/ 47091042 h 592"/>
              <a:gd name="T86" fmla="*/ 4681228 w 631"/>
              <a:gd name="T87" fmla="*/ 42490145 h 592"/>
              <a:gd name="T88" fmla="*/ 2059775 w 631"/>
              <a:gd name="T89" fmla="*/ 37347691 h 592"/>
              <a:gd name="T90" fmla="*/ 374308 w 631"/>
              <a:gd name="T91" fmla="*/ 31664720 h 592"/>
              <a:gd name="T92" fmla="*/ 0 w 631"/>
              <a:gd name="T93" fmla="*/ 25169153 h 592"/>
              <a:gd name="T94" fmla="*/ 561678 w 631"/>
              <a:gd name="T95" fmla="*/ 24086558 h 592"/>
              <a:gd name="T96" fmla="*/ 1872405 w 631"/>
              <a:gd name="T97" fmla="*/ 22462927 h 592"/>
              <a:gd name="T98" fmla="*/ 3183131 w 631"/>
              <a:gd name="T99" fmla="*/ 20839295 h 592"/>
              <a:gd name="T100" fmla="*/ 3745242 w 631"/>
              <a:gd name="T101" fmla="*/ 18674106 h 592"/>
              <a:gd name="T102" fmla="*/ 3370502 w 631"/>
              <a:gd name="T103" fmla="*/ 14343728 h 592"/>
              <a:gd name="T104" fmla="*/ 2434083 w 631"/>
              <a:gd name="T105" fmla="*/ 11366983 h 592"/>
              <a:gd name="T106" fmla="*/ 1685467 w 631"/>
              <a:gd name="T107" fmla="*/ 9201794 h 592"/>
              <a:gd name="T108" fmla="*/ 1310727 w 631"/>
              <a:gd name="T109" fmla="*/ 7036604 h 592"/>
              <a:gd name="T110" fmla="*/ 2434083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488907" y="4862357"/>
            <a:ext cx="17462" cy="57150"/>
          </a:xfrm>
          <a:custGeom>
            <a:avLst/>
            <a:gdLst>
              <a:gd name="T0" fmla="*/ 1334097 w 40"/>
              <a:gd name="T1" fmla="*/ 11706532 h 93"/>
              <a:gd name="T2" fmla="*/ 1905977 w 40"/>
              <a:gd name="T3" fmla="*/ 11328605 h 93"/>
              <a:gd name="T4" fmla="*/ 2668194 w 40"/>
              <a:gd name="T5" fmla="*/ 9818124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6 w 40"/>
              <a:gd name="T13" fmla="*/ 0 h 93"/>
              <a:gd name="T14" fmla="*/ 7051156 w 40"/>
              <a:gd name="T15" fmla="*/ 9818124 h 93"/>
              <a:gd name="T16" fmla="*/ 6670047 w 40"/>
              <a:gd name="T17" fmla="*/ 20014176 h 93"/>
              <a:gd name="T18" fmla="*/ 6479712 w 40"/>
              <a:gd name="T19" fmla="*/ 24546232 h 93"/>
              <a:gd name="T20" fmla="*/ 6479712 w 40"/>
              <a:gd name="T21" fmla="*/ 29077674 h 93"/>
              <a:gd name="T22" fmla="*/ 6670047 w 40"/>
              <a:gd name="T23" fmla="*/ 30965468 h 93"/>
              <a:gd name="T24" fmla="*/ 6860820 w 40"/>
              <a:gd name="T25" fmla="*/ 32475948 h 93"/>
              <a:gd name="T26" fmla="*/ 7051156 w 40"/>
              <a:gd name="T27" fmla="*/ 33986429 h 93"/>
              <a:gd name="T28" fmla="*/ 7623036 w 40"/>
              <a:gd name="T29" fmla="*/ 35119597 h 93"/>
              <a:gd name="T30" fmla="*/ 4954843 w 40"/>
              <a:gd name="T31" fmla="*/ 35119597 h 93"/>
              <a:gd name="T32" fmla="*/ 2477421 w 40"/>
              <a:gd name="T33" fmla="*/ 35119597 h 93"/>
              <a:gd name="T34" fmla="*/ 2096313 w 40"/>
              <a:gd name="T35" fmla="*/ 34741669 h 93"/>
              <a:gd name="T36" fmla="*/ 1524433 w 40"/>
              <a:gd name="T37" fmla="*/ 34364356 h 93"/>
              <a:gd name="T38" fmla="*/ 1143324 w 40"/>
              <a:gd name="T39" fmla="*/ 33231189 h 93"/>
              <a:gd name="T40" fmla="*/ 762216 w 40"/>
              <a:gd name="T41" fmla="*/ 32475948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5 h 93"/>
              <a:gd name="T48" fmla="*/ 571881 w 40"/>
              <a:gd name="T49" fmla="*/ 18881623 h 93"/>
              <a:gd name="T50" fmla="*/ 1143324 w 40"/>
              <a:gd name="T51" fmla="*/ 13972253 h 93"/>
              <a:gd name="T52" fmla="*/ 1334097 w 40"/>
              <a:gd name="T53" fmla="*/ 11706532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128544" y="4613119"/>
            <a:ext cx="295275" cy="273050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209632" y="4848069"/>
            <a:ext cx="150812" cy="82550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758782" y="4908394"/>
            <a:ext cx="147637" cy="173038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842919" y="5100482"/>
            <a:ext cx="69850" cy="57150"/>
          </a:xfrm>
          <a:custGeom>
            <a:avLst/>
            <a:gdLst>
              <a:gd name="T0" fmla="*/ 0 w 153"/>
              <a:gd name="T1" fmla="*/ 0 h 49"/>
              <a:gd name="T2" fmla="*/ 9170894 w 153"/>
              <a:gd name="T3" fmla="*/ 2721040 h 49"/>
              <a:gd name="T4" fmla="*/ 17299060 w 153"/>
              <a:gd name="T5" fmla="*/ 8161953 h 49"/>
              <a:gd name="T6" fmla="*/ 21467690 w 153"/>
              <a:gd name="T7" fmla="*/ 10882993 h 49"/>
              <a:gd name="T8" fmla="*/ 25219502 w 153"/>
              <a:gd name="T9" fmla="*/ 9521890 h 49"/>
              <a:gd name="T10" fmla="*/ 27095408 w 153"/>
              <a:gd name="T11" fmla="*/ 8161953 h 49"/>
              <a:gd name="T12" fmla="*/ 28554041 w 153"/>
              <a:gd name="T13" fmla="*/ 6802016 h 49"/>
              <a:gd name="T14" fmla="*/ 30221767 w 153"/>
              <a:gd name="T15" fmla="*/ 4080977 h 49"/>
              <a:gd name="T16" fmla="*/ 31889036 w 153"/>
              <a:gd name="T17" fmla="*/ 0 h 49"/>
              <a:gd name="T18" fmla="*/ 31889036 w 153"/>
              <a:gd name="T19" fmla="*/ 12242930 h 49"/>
              <a:gd name="T20" fmla="*/ 31889036 w 153"/>
              <a:gd name="T21" fmla="*/ 34007749 h 49"/>
              <a:gd name="T22" fmla="*/ 29804949 w 153"/>
              <a:gd name="T23" fmla="*/ 42169702 h 49"/>
              <a:gd name="T24" fmla="*/ 27720406 w 153"/>
              <a:gd name="T25" fmla="*/ 48971718 h 49"/>
              <a:gd name="T26" fmla="*/ 25844500 w 153"/>
              <a:gd name="T27" fmla="*/ 54412632 h 49"/>
              <a:gd name="T28" fmla="*/ 23760413 w 153"/>
              <a:gd name="T29" fmla="*/ 59853545 h 49"/>
              <a:gd name="T30" fmla="*/ 22093144 w 153"/>
              <a:gd name="T31" fmla="*/ 62574585 h 49"/>
              <a:gd name="T32" fmla="*/ 20634055 w 153"/>
              <a:gd name="T33" fmla="*/ 65295624 h 49"/>
              <a:gd name="T34" fmla="*/ 19174966 w 153"/>
              <a:gd name="T35" fmla="*/ 66655561 h 49"/>
              <a:gd name="T36" fmla="*/ 18133151 w 153"/>
              <a:gd name="T37" fmla="*/ 66655561 h 49"/>
              <a:gd name="T38" fmla="*/ 15006793 w 153"/>
              <a:gd name="T39" fmla="*/ 65295624 h 49"/>
              <a:gd name="T40" fmla="*/ 12505433 w 153"/>
              <a:gd name="T41" fmla="*/ 62574585 h 49"/>
              <a:gd name="T42" fmla="*/ 10421346 w 153"/>
              <a:gd name="T43" fmla="*/ 58493608 h 49"/>
              <a:gd name="T44" fmla="*/ 8545440 w 153"/>
              <a:gd name="T45" fmla="*/ 51691592 h 49"/>
              <a:gd name="T46" fmla="*/ 4585447 w 153"/>
              <a:gd name="T47" fmla="*/ 39448662 h 49"/>
              <a:gd name="T48" fmla="*/ 0 w 153"/>
              <a:gd name="T49" fmla="*/ 25845796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922169" y="5832319"/>
            <a:ext cx="187325" cy="158750"/>
          </a:xfrm>
          <a:custGeom>
            <a:avLst/>
            <a:gdLst>
              <a:gd name="T0" fmla="*/ 37512491 w 426"/>
              <a:gd name="T1" fmla="*/ 4510305 h 299"/>
              <a:gd name="T2" fmla="*/ 41766439 w 426"/>
              <a:gd name="T3" fmla="*/ 6201869 h 299"/>
              <a:gd name="T4" fmla="*/ 44473417 w 426"/>
              <a:gd name="T5" fmla="*/ 8174829 h 299"/>
              <a:gd name="T6" fmla="*/ 48920847 w 426"/>
              <a:gd name="T7" fmla="*/ 9866392 h 299"/>
              <a:gd name="T8" fmla="*/ 53948281 w 426"/>
              <a:gd name="T9" fmla="*/ 10430247 h 299"/>
              <a:gd name="T10" fmla="*/ 58008748 w 426"/>
              <a:gd name="T11" fmla="*/ 10430247 h 299"/>
              <a:gd name="T12" fmla="*/ 61682693 w 426"/>
              <a:gd name="T13" fmla="*/ 9584465 h 299"/>
              <a:gd name="T14" fmla="*/ 63616186 w 426"/>
              <a:gd name="T15" fmla="*/ 8174829 h 299"/>
              <a:gd name="T16" fmla="*/ 70577112 w 426"/>
              <a:gd name="T17" fmla="*/ 7047120 h 299"/>
              <a:gd name="T18" fmla="*/ 71931041 w 426"/>
              <a:gd name="T19" fmla="*/ 13812843 h 299"/>
              <a:gd name="T20" fmla="*/ 74058015 w 426"/>
              <a:gd name="T21" fmla="*/ 20859962 h 299"/>
              <a:gd name="T22" fmla="*/ 75604546 w 426"/>
              <a:gd name="T23" fmla="*/ 23679235 h 299"/>
              <a:gd name="T24" fmla="*/ 77344997 w 426"/>
              <a:gd name="T25" fmla="*/ 25934122 h 299"/>
              <a:gd name="T26" fmla="*/ 79665453 w 426"/>
              <a:gd name="T27" fmla="*/ 27343758 h 299"/>
              <a:gd name="T28" fmla="*/ 82178950 w 426"/>
              <a:gd name="T29" fmla="*/ 27907613 h 299"/>
              <a:gd name="T30" fmla="*/ 82178950 w 426"/>
              <a:gd name="T31" fmla="*/ 33827023 h 299"/>
              <a:gd name="T32" fmla="*/ 82178950 w 426"/>
              <a:gd name="T33" fmla="*/ 40028892 h 299"/>
              <a:gd name="T34" fmla="*/ 80438938 w 426"/>
              <a:gd name="T35" fmla="*/ 44539197 h 299"/>
              <a:gd name="T36" fmla="*/ 79665453 w 426"/>
              <a:gd name="T37" fmla="*/ 47921793 h 299"/>
              <a:gd name="T38" fmla="*/ 79665453 w 426"/>
              <a:gd name="T39" fmla="*/ 51022462 h 299"/>
              <a:gd name="T40" fmla="*/ 80245457 w 426"/>
              <a:gd name="T41" fmla="*/ 53559808 h 299"/>
              <a:gd name="T42" fmla="*/ 81792427 w 426"/>
              <a:gd name="T43" fmla="*/ 59479749 h 299"/>
              <a:gd name="T44" fmla="*/ 82372431 w 426"/>
              <a:gd name="T45" fmla="*/ 63708127 h 299"/>
              <a:gd name="T46" fmla="*/ 82178950 w 426"/>
              <a:gd name="T47" fmla="*/ 69627538 h 299"/>
              <a:gd name="T48" fmla="*/ 82372431 w 426"/>
              <a:gd name="T49" fmla="*/ 77239043 h 299"/>
              <a:gd name="T50" fmla="*/ 81792427 w 426"/>
              <a:gd name="T51" fmla="*/ 80339712 h 299"/>
              <a:gd name="T52" fmla="*/ 79665453 w 426"/>
              <a:gd name="T53" fmla="*/ 83440380 h 299"/>
              <a:gd name="T54" fmla="*/ 73477572 w 426"/>
              <a:gd name="T55" fmla="*/ 84004235 h 299"/>
              <a:gd name="T56" fmla="*/ 71544079 w 426"/>
              <a:gd name="T57" fmla="*/ 84286162 h 299"/>
              <a:gd name="T58" fmla="*/ 69610586 w 426"/>
              <a:gd name="T59" fmla="*/ 83440380 h 299"/>
              <a:gd name="T60" fmla="*/ 67870134 w 426"/>
              <a:gd name="T61" fmla="*/ 81749348 h 299"/>
              <a:gd name="T62" fmla="*/ 65356637 w 426"/>
              <a:gd name="T63" fmla="*/ 78366221 h 299"/>
              <a:gd name="T64" fmla="*/ 62649659 w 426"/>
              <a:gd name="T65" fmla="*/ 73573988 h 299"/>
              <a:gd name="T66" fmla="*/ 60135722 w 426"/>
              <a:gd name="T67" fmla="*/ 71319101 h 299"/>
              <a:gd name="T68" fmla="*/ 56848740 w 426"/>
              <a:gd name="T69" fmla="*/ 70755247 h 299"/>
              <a:gd name="T70" fmla="*/ 53754800 w 426"/>
              <a:gd name="T71" fmla="*/ 65399160 h 299"/>
              <a:gd name="T72" fmla="*/ 52981314 w 426"/>
              <a:gd name="T73" fmla="*/ 59197822 h 299"/>
              <a:gd name="T74" fmla="*/ 52014348 w 426"/>
              <a:gd name="T75" fmla="*/ 55532768 h 299"/>
              <a:gd name="T76" fmla="*/ 50467817 w 426"/>
              <a:gd name="T77" fmla="*/ 51868244 h 299"/>
              <a:gd name="T78" fmla="*/ 48533885 w 426"/>
              <a:gd name="T79" fmla="*/ 48767575 h 299"/>
              <a:gd name="T80" fmla="*/ 46020388 w 426"/>
              <a:gd name="T81" fmla="*/ 46512688 h 299"/>
              <a:gd name="T82" fmla="*/ 42926447 w 426"/>
              <a:gd name="T83" fmla="*/ 45384979 h 299"/>
              <a:gd name="T84" fmla="*/ 39445984 w 426"/>
              <a:gd name="T85" fmla="*/ 45384979 h 299"/>
              <a:gd name="T86" fmla="*/ 36352043 w 426"/>
              <a:gd name="T87" fmla="*/ 45948834 h 299"/>
              <a:gd name="T88" fmla="*/ 33451584 w 426"/>
              <a:gd name="T89" fmla="*/ 47357939 h 299"/>
              <a:gd name="T90" fmla="*/ 30938087 w 426"/>
              <a:gd name="T91" fmla="*/ 49613357 h 299"/>
              <a:gd name="T92" fmla="*/ 27264142 w 426"/>
              <a:gd name="T93" fmla="*/ 53841735 h 299"/>
              <a:gd name="T94" fmla="*/ 22816713 w 426"/>
              <a:gd name="T95" fmla="*/ 60606927 h 299"/>
              <a:gd name="T96" fmla="*/ 20303216 w 426"/>
              <a:gd name="T97" fmla="*/ 61452709 h 299"/>
              <a:gd name="T98" fmla="*/ 19336249 w 426"/>
              <a:gd name="T99" fmla="*/ 56660477 h 299"/>
              <a:gd name="T100" fmla="*/ 17402756 w 426"/>
              <a:gd name="T101" fmla="*/ 52432099 h 299"/>
              <a:gd name="T102" fmla="*/ 14695338 w 426"/>
              <a:gd name="T103" fmla="*/ 48203721 h 299"/>
              <a:gd name="T104" fmla="*/ 9668345 w 426"/>
              <a:gd name="T105" fmla="*/ 43129561 h 299"/>
              <a:gd name="T106" fmla="*/ 4640911 w 426"/>
              <a:gd name="T107" fmla="*/ 37773474 h 299"/>
              <a:gd name="T108" fmla="*/ 1546970 w 426"/>
              <a:gd name="T109" fmla="*/ 33545096 h 299"/>
              <a:gd name="T110" fmla="*/ 2900459 w 426"/>
              <a:gd name="T111" fmla="*/ 28471467 h 299"/>
              <a:gd name="T112" fmla="*/ 8894859 w 426"/>
              <a:gd name="T113" fmla="*/ 21705744 h 299"/>
              <a:gd name="T114" fmla="*/ 14502297 w 426"/>
              <a:gd name="T115" fmla="*/ 13530916 h 299"/>
              <a:gd name="T116" fmla="*/ 18949727 w 426"/>
              <a:gd name="T117" fmla="*/ 4792232 h 299"/>
              <a:gd name="T118" fmla="*/ 34612031 w 426"/>
              <a:gd name="T119" fmla="*/ 3664523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966869" y="5095719"/>
            <a:ext cx="692150" cy="874713"/>
          </a:xfrm>
          <a:custGeom>
            <a:avLst/>
            <a:gdLst>
              <a:gd name="T0" fmla="*/ 89937815 w 1594"/>
              <a:gd name="T1" fmla="*/ 29354740 h 1670"/>
              <a:gd name="T2" fmla="*/ 91446302 w 1594"/>
              <a:gd name="T3" fmla="*/ 50753781 h 1670"/>
              <a:gd name="T4" fmla="*/ 108981058 w 1594"/>
              <a:gd name="T5" fmla="*/ 78737265 h 1670"/>
              <a:gd name="T6" fmla="*/ 132172860 w 1594"/>
              <a:gd name="T7" fmla="*/ 125924626 h 1670"/>
              <a:gd name="T8" fmla="*/ 149896503 w 1594"/>
              <a:gd name="T9" fmla="*/ 136898346 h 1670"/>
              <a:gd name="T10" fmla="*/ 165357414 w 1594"/>
              <a:gd name="T11" fmla="*/ 135252629 h 1670"/>
              <a:gd name="T12" fmla="*/ 175350601 w 1594"/>
              <a:gd name="T13" fmla="*/ 147323668 h 1670"/>
              <a:gd name="T14" fmla="*/ 207780912 w 1594"/>
              <a:gd name="T15" fmla="*/ 155553827 h 1670"/>
              <a:gd name="T16" fmla="*/ 211363244 w 1594"/>
              <a:gd name="T17" fmla="*/ 126473548 h 1670"/>
              <a:gd name="T18" fmla="*/ 222299127 w 1594"/>
              <a:gd name="T19" fmla="*/ 147872590 h 1670"/>
              <a:gd name="T20" fmla="*/ 234366159 w 1594"/>
              <a:gd name="T21" fmla="*/ 153908109 h 1670"/>
              <a:gd name="T22" fmla="*/ 244924703 w 1594"/>
              <a:gd name="T23" fmla="*/ 136624409 h 1670"/>
              <a:gd name="T24" fmla="*/ 264722624 w 1594"/>
              <a:gd name="T25" fmla="*/ 112207346 h 1670"/>
              <a:gd name="T26" fmla="*/ 292062115 w 1594"/>
              <a:gd name="T27" fmla="*/ 117420007 h 1670"/>
              <a:gd name="T28" fmla="*/ 297718726 w 1594"/>
              <a:gd name="T29" fmla="*/ 136624409 h 1670"/>
              <a:gd name="T30" fmla="*/ 283577416 w 1594"/>
              <a:gd name="T31" fmla="*/ 148695448 h 1670"/>
              <a:gd name="T32" fmla="*/ 279995083 w 1594"/>
              <a:gd name="T33" fmla="*/ 186280871 h 1670"/>
              <a:gd name="T34" fmla="*/ 269436105 w 1594"/>
              <a:gd name="T35" fmla="*/ 193139249 h 1670"/>
              <a:gd name="T36" fmla="*/ 265476868 w 1594"/>
              <a:gd name="T37" fmla="*/ 223317372 h 1670"/>
              <a:gd name="T38" fmla="*/ 249072826 w 1594"/>
              <a:gd name="T39" fmla="*/ 206856530 h 1670"/>
              <a:gd name="T40" fmla="*/ 249450165 w 1594"/>
              <a:gd name="T41" fmla="*/ 191493532 h 1670"/>
              <a:gd name="T42" fmla="*/ 230972279 w 1594"/>
              <a:gd name="T43" fmla="*/ 175032690 h 1670"/>
              <a:gd name="T44" fmla="*/ 223807614 w 1594"/>
              <a:gd name="T45" fmla="*/ 161315410 h 1670"/>
              <a:gd name="T46" fmla="*/ 213248636 w 1594"/>
              <a:gd name="T47" fmla="*/ 157748990 h 1670"/>
              <a:gd name="T48" fmla="*/ 212494392 w 1594"/>
              <a:gd name="T49" fmla="*/ 171466271 h 1670"/>
              <a:gd name="T50" fmla="*/ 210609000 w 1594"/>
              <a:gd name="T51" fmla="*/ 187378190 h 1670"/>
              <a:gd name="T52" fmla="*/ 218716795 w 1594"/>
              <a:gd name="T53" fmla="*/ 201643869 h 1670"/>
              <a:gd name="T54" fmla="*/ 216642516 w 1594"/>
              <a:gd name="T55" fmla="*/ 231273593 h 1670"/>
              <a:gd name="T56" fmla="*/ 202690092 w 1594"/>
              <a:gd name="T57" fmla="*/ 237034652 h 1670"/>
              <a:gd name="T58" fmla="*/ 197787724 w 1594"/>
              <a:gd name="T59" fmla="*/ 257061914 h 1670"/>
              <a:gd name="T60" fmla="*/ 179875629 w 1594"/>
              <a:gd name="T61" fmla="*/ 274620075 h 1670"/>
              <a:gd name="T62" fmla="*/ 171956721 w 1594"/>
              <a:gd name="T63" fmla="*/ 288062895 h 1670"/>
              <a:gd name="T64" fmla="*/ 147067980 w 1594"/>
              <a:gd name="T65" fmla="*/ 325922778 h 1670"/>
              <a:gd name="T66" fmla="*/ 136320983 w 1594"/>
              <a:gd name="T67" fmla="*/ 338268278 h 1670"/>
              <a:gd name="T68" fmla="*/ 140280220 w 1594"/>
              <a:gd name="T69" fmla="*/ 368720861 h 1670"/>
              <a:gd name="T70" fmla="*/ 134246704 w 1594"/>
              <a:gd name="T71" fmla="*/ 396429360 h 1670"/>
              <a:gd name="T72" fmla="*/ 136132097 w 1594"/>
              <a:gd name="T73" fmla="*/ 418102862 h 1670"/>
              <a:gd name="T74" fmla="*/ 130664372 w 1594"/>
              <a:gd name="T75" fmla="*/ 432369065 h 1670"/>
              <a:gd name="T76" fmla="*/ 112186486 w 1594"/>
              <a:gd name="T77" fmla="*/ 456237206 h 1670"/>
              <a:gd name="T78" fmla="*/ 97291366 w 1594"/>
              <a:gd name="T79" fmla="*/ 419474643 h 1670"/>
              <a:gd name="T80" fmla="*/ 79001932 w 1594"/>
              <a:gd name="T81" fmla="*/ 365977300 h 1670"/>
              <a:gd name="T82" fmla="*/ 56753260 w 1594"/>
              <a:gd name="T83" fmla="*/ 305621056 h 1670"/>
              <a:gd name="T84" fmla="*/ 48834352 w 1594"/>
              <a:gd name="T85" fmla="*/ 236211794 h 1670"/>
              <a:gd name="T86" fmla="*/ 43366194 w 1594"/>
              <a:gd name="T87" fmla="*/ 223317372 h 1670"/>
              <a:gd name="T88" fmla="*/ 30921823 w 1594"/>
              <a:gd name="T89" fmla="*/ 246911052 h 1670"/>
              <a:gd name="T90" fmla="*/ 16969399 w 1594"/>
              <a:gd name="T91" fmla="*/ 240326611 h 1670"/>
              <a:gd name="T92" fmla="*/ 9615848 w 1594"/>
              <a:gd name="T93" fmla="*/ 218928093 h 1670"/>
              <a:gd name="T94" fmla="*/ 5656611 w 1594"/>
              <a:gd name="T95" fmla="*/ 211520793 h 1670"/>
              <a:gd name="T96" fmla="*/ 6033516 w 1594"/>
              <a:gd name="T97" fmla="*/ 194236569 h 1670"/>
              <a:gd name="T98" fmla="*/ 29979127 w 1594"/>
              <a:gd name="T99" fmla="*/ 180793749 h 1670"/>
              <a:gd name="T100" fmla="*/ 17346304 w 1594"/>
              <a:gd name="T101" fmla="*/ 156102749 h 1670"/>
              <a:gd name="T102" fmla="*/ 11124336 w 1594"/>
              <a:gd name="T103" fmla="*/ 137172807 h 1670"/>
              <a:gd name="T104" fmla="*/ 30544918 w 1594"/>
              <a:gd name="T105" fmla="*/ 125924626 h 1670"/>
              <a:gd name="T106" fmla="*/ 50908197 w 1594"/>
              <a:gd name="T107" fmla="*/ 80657443 h 1670"/>
              <a:gd name="T108" fmla="*/ 51662441 w 1594"/>
              <a:gd name="T109" fmla="*/ 63099282 h 1670"/>
              <a:gd name="T110" fmla="*/ 42800402 w 1594"/>
              <a:gd name="T111" fmla="*/ 38957203 h 1670"/>
              <a:gd name="T112" fmla="*/ 60712932 w 1594"/>
              <a:gd name="T113" fmla="*/ 14814600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088857" y="5891057"/>
            <a:ext cx="158750" cy="206375"/>
          </a:xfrm>
          <a:custGeom>
            <a:avLst/>
            <a:gdLst>
              <a:gd name="T0" fmla="*/ 10363854 w 359"/>
              <a:gd name="T1" fmla="*/ 104805501 h 394"/>
              <a:gd name="T2" fmla="*/ 10363854 w 359"/>
              <a:gd name="T3" fmla="*/ 98220881 h 394"/>
              <a:gd name="T4" fmla="*/ 10363854 w 359"/>
              <a:gd name="T5" fmla="*/ 91362317 h 394"/>
              <a:gd name="T6" fmla="*/ 9777054 w 359"/>
              <a:gd name="T7" fmla="*/ 85600579 h 394"/>
              <a:gd name="T8" fmla="*/ 8408444 w 359"/>
              <a:gd name="T9" fmla="*/ 80387777 h 394"/>
              <a:gd name="T10" fmla="*/ 6843938 w 359"/>
              <a:gd name="T11" fmla="*/ 75997856 h 394"/>
              <a:gd name="T12" fmla="*/ 2542211 w 359"/>
              <a:gd name="T13" fmla="*/ 67218537 h 394"/>
              <a:gd name="T14" fmla="*/ 0 w 359"/>
              <a:gd name="T15" fmla="*/ 50756727 h 394"/>
              <a:gd name="T16" fmla="*/ 6453033 w 359"/>
              <a:gd name="T17" fmla="*/ 49659377 h 394"/>
              <a:gd name="T18" fmla="*/ 7821643 w 359"/>
              <a:gd name="T19" fmla="*/ 46366806 h 394"/>
              <a:gd name="T20" fmla="*/ 8017096 w 359"/>
              <a:gd name="T21" fmla="*/ 41154003 h 394"/>
              <a:gd name="T22" fmla="*/ 7430738 w 359"/>
              <a:gd name="T23" fmla="*/ 29356582 h 394"/>
              <a:gd name="T24" fmla="*/ 6061685 w 359"/>
              <a:gd name="T25" fmla="*/ 17833628 h 394"/>
              <a:gd name="T26" fmla="*/ 6257138 w 359"/>
              <a:gd name="T27" fmla="*/ 12894771 h 394"/>
              <a:gd name="T28" fmla="*/ 7039391 w 359"/>
              <a:gd name="T29" fmla="*/ 9877191 h 394"/>
              <a:gd name="T30" fmla="*/ 23464930 w 359"/>
              <a:gd name="T31" fmla="*/ 8505374 h 394"/>
              <a:gd name="T32" fmla="*/ 23855836 w 359"/>
              <a:gd name="T33" fmla="*/ 6035683 h 394"/>
              <a:gd name="T34" fmla="*/ 25029436 w 359"/>
              <a:gd name="T35" fmla="*/ 3840984 h 394"/>
              <a:gd name="T36" fmla="*/ 27375752 w 359"/>
              <a:gd name="T37" fmla="*/ 0 h 394"/>
              <a:gd name="T38" fmla="*/ 27766657 w 359"/>
              <a:gd name="T39" fmla="*/ 4938334 h 394"/>
              <a:gd name="T40" fmla="*/ 27766657 w 359"/>
              <a:gd name="T41" fmla="*/ 7133556 h 394"/>
              <a:gd name="T42" fmla="*/ 27375752 w 359"/>
              <a:gd name="T43" fmla="*/ 8505374 h 394"/>
              <a:gd name="T44" fmla="*/ 32851079 w 359"/>
              <a:gd name="T45" fmla="*/ 8505374 h 394"/>
              <a:gd name="T46" fmla="*/ 36370554 w 359"/>
              <a:gd name="T47" fmla="*/ 8505374 h 394"/>
              <a:gd name="T48" fmla="*/ 41845881 w 359"/>
              <a:gd name="T49" fmla="*/ 10425604 h 394"/>
              <a:gd name="T50" fmla="*/ 45561250 w 359"/>
              <a:gd name="T51" fmla="*/ 13443707 h 394"/>
              <a:gd name="T52" fmla="*/ 48103019 w 359"/>
              <a:gd name="T53" fmla="*/ 15912874 h 394"/>
              <a:gd name="T54" fmla="*/ 50645230 w 359"/>
              <a:gd name="T55" fmla="*/ 16735755 h 394"/>
              <a:gd name="T56" fmla="*/ 52405188 w 359"/>
              <a:gd name="T57" fmla="*/ 16187343 h 394"/>
              <a:gd name="T58" fmla="*/ 53773799 w 359"/>
              <a:gd name="T59" fmla="*/ 14815525 h 394"/>
              <a:gd name="T60" fmla="*/ 55924662 w 359"/>
              <a:gd name="T61" fmla="*/ 10151136 h 394"/>
              <a:gd name="T62" fmla="*/ 61009084 w 359"/>
              <a:gd name="T63" fmla="*/ 14266589 h 394"/>
              <a:gd name="T64" fmla="*/ 63550853 w 359"/>
              <a:gd name="T65" fmla="*/ 16187343 h 394"/>
              <a:gd name="T66" fmla="*/ 66093064 w 359"/>
              <a:gd name="T67" fmla="*/ 16735755 h 394"/>
              <a:gd name="T68" fmla="*/ 69026180 w 359"/>
              <a:gd name="T69" fmla="*/ 44172107 h 394"/>
              <a:gd name="T70" fmla="*/ 66093064 w 359"/>
              <a:gd name="T71" fmla="*/ 50756727 h 394"/>
              <a:gd name="T72" fmla="*/ 63159948 w 359"/>
              <a:gd name="T73" fmla="*/ 56518465 h 394"/>
              <a:gd name="T74" fmla="*/ 61595442 w 359"/>
              <a:gd name="T75" fmla="*/ 61456799 h 394"/>
              <a:gd name="T76" fmla="*/ 61204537 w 359"/>
              <a:gd name="T77" fmla="*/ 65572252 h 394"/>
              <a:gd name="T78" fmla="*/ 61204537 w 359"/>
              <a:gd name="T79" fmla="*/ 69962173 h 394"/>
              <a:gd name="T80" fmla="*/ 62768600 w 359"/>
              <a:gd name="T81" fmla="*/ 74900506 h 394"/>
              <a:gd name="T82" fmla="*/ 64724011 w 359"/>
              <a:gd name="T83" fmla="*/ 80387777 h 394"/>
              <a:gd name="T84" fmla="*/ 65897611 w 359"/>
              <a:gd name="T85" fmla="*/ 84777174 h 394"/>
              <a:gd name="T86" fmla="*/ 65897611 w 359"/>
              <a:gd name="T87" fmla="*/ 88069746 h 394"/>
              <a:gd name="T88" fmla="*/ 64528558 w 359"/>
              <a:gd name="T89" fmla="*/ 92459667 h 394"/>
              <a:gd name="T90" fmla="*/ 63746306 w 359"/>
              <a:gd name="T91" fmla="*/ 96300651 h 394"/>
              <a:gd name="T92" fmla="*/ 62377695 w 359"/>
              <a:gd name="T93" fmla="*/ 98220881 h 394"/>
              <a:gd name="T94" fmla="*/ 60226831 w 359"/>
              <a:gd name="T95" fmla="*/ 97672469 h 394"/>
              <a:gd name="T96" fmla="*/ 58271421 w 359"/>
              <a:gd name="T97" fmla="*/ 96026183 h 394"/>
              <a:gd name="T98" fmla="*/ 56120557 w 359"/>
              <a:gd name="T99" fmla="*/ 93282548 h 394"/>
              <a:gd name="T100" fmla="*/ 54165146 w 359"/>
              <a:gd name="T101" fmla="*/ 91910730 h 394"/>
              <a:gd name="T102" fmla="*/ 52013841 w 359"/>
              <a:gd name="T103" fmla="*/ 91362317 h 394"/>
              <a:gd name="T104" fmla="*/ 48103019 w 359"/>
              <a:gd name="T105" fmla="*/ 91362317 h 394"/>
              <a:gd name="T106" fmla="*/ 43214492 w 359"/>
              <a:gd name="T107" fmla="*/ 92185198 h 394"/>
              <a:gd name="T108" fmla="*/ 35392848 w 359"/>
              <a:gd name="T109" fmla="*/ 94105429 h 394"/>
              <a:gd name="T110" fmla="*/ 25615794 w 359"/>
              <a:gd name="T111" fmla="*/ 98495350 h 394"/>
              <a:gd name="T112" fmla="*/ 16816445 w 359"/>
              <a:gd name="T113" fmla="*/ 102885271 h 394"/>
              <a:gd name="T114" fmla="*/ 10363854 w 359"/>
              <a:gd name="T115" fmla="*/ 108098073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157244" y="6086319"/>
            <a:ext cx="192088" cy="271463"/>
          </a:xfrm>
          <a:custGeom>
            <a:avLst/>
            <a:gdLst>
              <a:gd name="T0" fmla="*/ 75039669 w 449"/>
              <a:gd name="T1" fmla="*/ 28288209 h 523"/>
              <a:gd name="T2" fmla="*/ 74124577 w 449"/>
              <a:gd name="T3" fmla="*/ 26402502 h 523"/>
              <a:gd name="T4" fmla="*/ 74673889 w 449"/>
              <a:gd name="T5" fmla="*/ 24786181 h 523"/>
              <a:gd name="T6" fmla="*/ 77236061 w 449"/>
              <a:gd name="T7" fmla="*/ 20744860 h 523"/>
              <a:gd name="T8" fmla="*/ 80713324 w 449"/>
              <a:gd name="T9" fmla="*/ 16164765 h 523"/>
              <a:gd name="T10" fmla="*/ 81811520 w 449"/>
              <a:gd name="T11" fmla="*/ 13470378 h 523"/>
              <a:gd name="T12" fmla="*/ 82177728 w 449"/>
              <a:gd name="T13" fmla="*/ 9968350 h 523"/>
              <a:gd name="T14" fmla="*/ 79066244 w 449"/>
              <a:gd name="T15" fmla="*/ 9160189 h 523"/>
              <a:gd name="T16" fmla="*/ 77236061 w 449"/>
              <a:gd name="T17" fmla="*/ 7273963 h 523"/>
              <a:gd name="T18" fmla="*/ 75222773 w 449"/>
              <a:gd name="T19" fmla="*/ 5657642 h 523"/>
              <a:gd name="T20" fmla="*/ 71379302 w 449"/>
              <a:gd name="T21" fmla="*/ 4849481 h 523"/>
              <a:gd name="T22" fmla="*/ 68999806 w 449"/>
              <a:gd name="T23" fmla="*/ 5388255 h 523"/>
              <a:gd name="T24" fmla="*/ 67352727 w 449"/>
              <a:gd name="T25" fmla="*/ 6465802 h 523"/>
              <a:gd name="T26" fmla="*/ 64973659 w 449"/>
              <a:gd name="T27" fmla="*/ 9968350 h 523"/>
              <a:gd name="T28" fmla="*/ 62227956 w 449"/>
              <a:gd name="T29" fmla="*/ 13470378 h 523"/>
              <a:gd name="T30" fmla="*/ 59665784 w 449"/>
              <a:gd name="T31" fmla="*/ 14548444 h 523"/>
              <a:gd name="T32" fmla="*/ 56737405 w 449"/>
              <a:gd name="T33" fmla="*/ 14817831 h 523"/>
              <a:gd name="T34" fmla="*/ 52527726 w 449"/>
              <a:gd name="T35" fmla="*/ 14548444 h 523"/>
              <a:gd name="T36" fmla="*/ 48867358 w 449"/>
              <a:gd name="T37" fmla="*/ 13470378 h 523"/>
              <a:gd name="T38" fmla="*/ 43010599 w 449"/>
              <a:gd name="T39" fmla="*/ 9698963 h 523"/>
              <a:gd name="T40" fmla="*/ 37702725 w 449"/>
              <a:gd name="T41" fmla="*/ 5118868 h 523"/>
              <a:gd name="T42" fmla="*/ 34591669 w 449"/>
              <a:gd name="T43" fmla="*/ 3233161 h 523"/>
              <a:gd name="T44" fmla="*/ 31113978 w 449"/>
              <a:gd name="T45" fmla="*/ 1616321 h 523"/>
              <a:gd name="T46" fmla="*/ 24525231 w 449"/>
              <a:gd name="T47" fmla="*/ 2155094 h 523"/>
              <a:gd name="T48" fmla="*/ 21779956 w 449"/>
              <a:gd name="T49" fmla="*/ 1616321 h 523"/>
              <a:gd name="T50" fmla="*/ 18851576 w 449"/>
              <a:gd name="T51" fmla="*/ 0 h 523"/>
              <a:gd name="T52" fmla="*/ 9517126 w 449"/>
              <a:gd name="T53" fmla="*/ 0 h 523"/>
              <a:gd name="T54" fmla="*/ 915092 w 449"/>
              <a:gd name="T55" fmla="*/ 0 h 523"/>
              <a:gd name="T56" fmla="*/ 915092 w 449"/>
              <a:gd name="T57" fmla="*/ 4849481 h 523"/>
              <a:gd name="T58" fmla="*/ 915092 w 449"/>
              <a:gd name="T59" fmla="*/ 9968350 h 523"/>
              <a:gd name="T60" fmla="*/ 2745275 w 449"/>
              <a:gd name="T61" fmla="*/ 16164765 h 523"/>
              <a:gd name="T62" fmla="*/ 4209679 w 449"/>
              <a:gd name="T63" fmla="*/ 24516794 h 523"/>
              <a:gd name="T64" fmla="*/ 5673655 w 449"/>
              <a:gd name="T65" fmla="*/ 34484625 h 523"/>
              <a:gd name="T66" fmla="*/ 6954955 w 449"/>
              <a:gd name="T67" fmla="*/ 46339201 h 523"/>
              <a:gd name="T68" fmla="*/ 6771851 w 449"/>
              <a:gd name="T69" fmla="*/ 55498872 h 523"/>
              <a:gd name="T70" fmla="*/ 5307875 w 449"/>
              <a:gd name="T71" fmla="*/ 61964674 h 523"/>
              <a:gd name="T72" fmla="*/ 1281300 w 449"/>
              <a:gd name="T73" fmla="*/ 72471797 h 523"/>
              <a:gd name="T74" fmla="*/ 1830184 w 449"/>
              <a:gd name="T75" fmla="*/ 86481468 h 523"/>
              <a:gd name="T76" fmla="*/ 5124771 w 449"/>
              <a:gd name="T77" fmla="*/ 91330949 h 523"/>
              <a:gd name="T78" fmla="*/ 15373885 w 449"/>
              <a:gd name="T79" fmla="*/ 98874299 h 523"/>
              <a:gd name="T80" fmla="*/ 24891439 w 449"/>
              <a:gd name="T81" fmla="*/ 106687554 h 523"/>
              <a:gd name="T82" fmla="*/ 31113978 w 449"/>
              <a:gd name="T83" fmla="*/ 113153357 h 523"/>
              <a:gd name="T84" fmla="*/ 34591669 w 449"/>
              <a:gd name="T85" fmla="*/ 117464064 h 523"/>
              <a:gd name="T86" fmla="*/ 36238749 w 449"/>
              <a:gd name="T87" fmla="*/ 121504866 h 523"/>
              <a:gd name="T88" fmla="*/ 36787633 w 449"/>
              <a:gd name="T89" fmla="*/ 125007414 h 523"/>
              <a:gd name="T90" fmla="*/ 38252036 w 449"/>
              <a:gd name="T91" fmla="*/ 129048735 h 523"/>
              <a:gd name="T92" fmla="*/ 40265324 w 449"/>
              <a:gd name="T93" fmla="*/ 132550763 h 523"/>
              <a:gd name="T94" fmla="*/ 42644392 w 449"/>
              <a:gd name="T95" fmla="*/ 135514537 h 523"/>
              <a:gd name="T96" fmla="*/ 45206991 w 449"/>
              <a:gd name="T97" fmla="*/ 137939018 h 523"/>
              <a:gd name="T98" fmla="*/ 48318474 w 449"/>
              <a:gd name="T99" fmla="*/ 139825245 h 523"/>
              <a:gd name="T100" fmla="*/ 51429530 w 449"/>
              <a:gd name="T101" fmla="*/ 140902792 h 523"/>
              <a:gd name="T102" fmla="*/ 55639209 w 449"/>
              <a:gd name="T103" fmla="*/ 135245150 h 523"/>
              <a:gd name="T104" fmla="*/ 61312864 w 449"/>
              <a:gd name="T105" fmla="*/ 124468640 h 523"/>
              <a:gd name="T106" fmla="*/ 66803843 w 449"/>
              <a:gd name="T107" fmla="*/ 115039064 h 523"/>
              <a:gd name="T108" fmla="*/ 72111290 w 449"/>
              <a:gd name="T109" fmla="*/ 105070714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139782" y="5171919"/>
            <a:ext cx="101600" cy="130175"/>
          </a:xfrm>
          <a:custGeom>
            <a:avLst/>
            <a:gdLst>
              <a:gd name="T0" fmla="*/ 2425363 w 226"/>
              <a:gd name="T1" fmla="*/ 63843958 h 246"/>
              <a:gd name="T2" fmla="*/ 7275639 w 226"/>
              <a:gd name="T3" fmla="*/ 67204167 h 246"/>
              <a:gd name="T4" fmla="*/ 10711607 w 226"/>
              <a:gd name="T5" fmla="*/ 68604342 h 246"/>
              <a:gd name="T6" fmla="*/ 13742973 w 226"/>
              <a:gd name="T7" fmla="*/ 68604342 h 246"/>
              <a:gd name="T8" fmla="*/ 17178492 w 226"/>
              <a:gd name="T9" fmla="*/ 67484096 h 246"/>
              <a:gd name="T10" fmla="*/ 22231069 w 226"/>
              <a:gd name="T11" fmla="*/ 63843958 h 246"/>
              <a:gd name="T12" fmla="*/ 28496552 w 226"/>
              <a:gd name="T13" fmla="*/ 57403471 h 246"/>
              <a:gd name="T14" fmla="*/ 32538524 w 226"/>
              <a:gd name="T15" fmla="*/ 51523371 h 246"/>
              <a:gd name="T16" fmla="*/ 32134372 w 226"/>
              <a:gd name="T17" fmla="*/ 48443092 h 246"/>
              <a:gd name="T18" fmla="*/ 30113161 w 226"/>
              <a:gd name="T19" fmla="*/ 44802954 h 246"/>
              <a:gd name="T20" fmla="*/ 28900704 w 226"/>
              <a:gd name="T21" fmla="*/ 40602429 h 246"/>
              <a:gd name="T22" fmla="*/ 28496552 w 226"/>
              <a:gd name="T23" fmla="*/ 36402433 h 246"/>
              <a:gd name="T24" fmla="*/ 28496552 w 226"/>
              <a:gd name="T25" fmla="*/ 32481837 h 246"/>
              <a:gd name="T26" fmla="*/ 29506708 w 226"/>
              <a:gd name="T27" fmla="*/ 29401558 h 246"/>
              <a:gd name="T28" fmla="*/ 31527919 w 226"/>
              <a:gd name="T29" fmla="*/ 26321808 h 246"/>
              <a:gd name="T30" fmla="*/ 33953281 w 226"/>
              <a:gd name="T31" fmla="*/ 24081317 h 246"/>
              <a:gd name="T32" fmla="*/ 41228920 w 226"/>
              <a:gd name="T33" fmla="*/ 19881321 h 246"/>
              <a:gd name="T34" fmla="*/ 45472743 w 226"/>
              <a:gd name="T35" fmla="*/ 13720762 h 246"/>
              <a:gd name="T36" fmla="*/ 44664439 w 226"/>
              <a:gd name="T37" fmla="*/ 8400521 h 246"/>
              <a:gd name="T38" fmla="*/ 43249681 w 226"/>
              <a:gd name="T39" fmla="*/ 4760383 h 246"/>
              <a:gd name="T40" fmla="*/ 42845529 w 226"/>
              <a:gd name="T41" fmla="*/ 1680104 h 246"/>
              <a:gd name="T42" fmla="*/ 40824768 w 226"/>
              <a:gd name="T43" fmla="*/ 279929 h 246"/>
              <a:gd name="T44" fmla="*/ 36580496 w 226"/>
              <a:gd name="T45" fmla="*/ 1960033 h 246"/>
              <a:gd name="T46" fmla="*/ 31123766 w 226"/>
              <a:gd name="T47" fmla="*/ 5600171 h 246"/>
              <a:gd name="T48" fmla="*/ 24454131 w 226"/>
              <a:gd name="T49" fmla="*/ 10640483 h 246"/>
              <a:gd name="T50" fmla="*/ 20210308 w 226"/>
              <a:gd name="T51" fmla="*/ 14280621 h 246"/>
              <a:gd name="T52" fmla="*/ 17583094 w 226"/>
              <a:gd name="T53" fmla="*/ 15400867 h 246"/>
              <a:gd name="T54" fmla="*/ 15157731 w 226"/>
              <a:gd name="T55" fmla="*/ 15120937 h 246"/>
              <a:gd name="T56" fmla="*/ 11924064 w 226"/>
              <a:gd name="T57" fmla="*/ 13160904 h 246"/>
              <a:gd name="T58" fmla="*/ 7275639 w 226"/>
              <a:gd name="T59" fmla="*/ 8680450 h 246"/>
              <a:gd name="T60" fmla="*/ 4850276 w 226"/>
              <a:gd name="T61" fmla="*/ 10920942 h 246"/>
              <a:gd name="T62" fmla="*/ 3637819 w 226"/>
              <a:gd name="T63" fmla="*/ 26601737 h 246"/>
              <a:gd name="T64" fmla="*/ 2021211 w 226"/>
              <a:gd name="T65" fmla="*/ 45642742 h 246"/>
              <a:gd name="T66" fmla="*/ 606453 w 226"/>
              <a:gd name="T67" fmla="*/ 59363504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438232" y="5275107"/>
            <a:ext cx="22225" cy="55562"/>
          </a:xfrm>
          <a:custGeom>
            <a:avLst/>
            <a:gdLst>
              <a:gd name="T0" fmla="*/ 3704537 w 60"/>
              <a:gd name="T1" fmla="*/ 0 h 81"/>
              <a:gd name="T2" fmla="*/ 3979016 w 60"/>
              <a:gd name="T3" fmla="*/ 941124 h 81"/>
              <a:gd name="T4" fmla="*/ 4390549 w 60"/>
              <a:gd name="T5" fmla="*/ 1411686 h 81"/>
              <a:gd name="T6" fmla="*/ 4939506 w 60"/>
              <a:gd name="T7" fmla="*/ 1411686 h 81"/>
              <a:gd name="T8" fmla="*/ 5488464 w 60"/>
              <a:gd name="T9" fmla="*/ 941124 h 81"/>
              <a:gd name="T10" fmla="*/ 6448954 w 60"/>
              <a:gd name="T11" fmla="*/ 470562 h 81"/>
              <a:gd name="T12" fmla="*/ 7272020 w 60"/>
              <a:gd name="T13" fmla="*/ 0 h 81"/>
              <a:gd name="T14" fmla="*/ 7272020 w 60"/>
              <a:gd name="T15" fmla="*/ 12233929 h 81"/>
              <a:gd name="T16" fmla="*/ 7409445 w 60"/>
              <a:gd name="T17" fmla="*/ 22115048 h 81"/>
              <a:gd name="T18" fmla="*/ 7409445 w 60"/>
              <a:gd name="T19" fmla="*/ 26819983 h 81"/>
              <a:gd name="T20" fmla="*/ 7683553 w 60"/>
              <a:gd name="T21" fmla="*/ 30584480 h 81"/>
              <a:gd name="T22" fmla="*/ 7958032 w 60"/>
              <a:gd name="T23" fmla="*/ 34348291 h 81"/>
              <a:gd name="T24" fmla="*/ 8232510 w 60"/>
              <a:gd name="T25" fmla="*/ 38112788 h 81"/>
              <a:gd name="T26" fmla="*/ 2744047 w 60"/>
              <a:gd name="T27" fmla="*/ 38112788 h 81"/>
              <a:gd name="T28" fmla="*/ 1920981 w 60"/>
              <a:gd name="T29" fmla="*/ 37642226 h 81"/>
              <a:gd name="T30" fmla="*/ 960490 w 60"/>
              <a:gd name="T31" fmla="*/ 36230540 h 81"/>
              <a:gd name="T32" fmla="*/ 686012 w 60"/>
              <a:gd name="T33" fmla="*/ 34818853 h 81"/>
              <a:gd name="T34" fmla="*/ 274479 w 60"/>
              <a:gd name="T35" fmla="*/ 33877729 h 81"/>
              <a:gd name="T36" fmla="*/ 137054 w 60"/>
              <a:gd name="T37" fmla="*/ 32937291 h 81"/>
              <a:gd name="T38" fmla="*/ 0 w 60"/>
              <a:gd name="T39" fmla="*/ 31996167 h 81"/>
              <a:gd name="T40" fmla="*/ 960490 w 60"/>
              <a:gd name="T41" fmla="*/ 5646060 h 81"/>
              <a:gd name="T42" fmla="*/ 2744047 w 60"/>
              <a:gd name="T43" fmla="*/ 2823373 h 81"/>
              <a:gd name="T44" fmla="*/ 4665028 w 60"/>
              <a:gd name="T45" fmla="*/ 0 h 81"/>
              <a:gd name="T46" fmla="*/ 370453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725444" y="4409919"/>
            <a:ext cx="161925" cy="66675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136607" y="5130644"/>
            <a:ext cx="30162" cy="57150"/>
          </a:xfrm>
          <a:custGeom>
            <a:avLst/>
            <a:gdLst>
              <a:gd name="T0" fmla="*/ 3838115 w 80"/>
              <a:gd name="T1" fmla="*/ 369651 h 94"/>
              <a:gd name="T2" fmla="*/ 4833083 w 80"/>
              <a:gd name="T3" fmla="*/ 0 h 94"/>
              <a:gd name="T4" fmla="*/ 5828052 w 80"/>
              <a:gd name="T5" fmla="*/ 0 h 94"/>
              <a:gd name="T6" fmla="*/ 6680883 w 80"/>
              <a:gd name="T7" fmla="*/ 739302 h 94"/>
              <a:gd name="T8" fmla="*/ 7675852 w 80"/>
              <a:gd name="T9" fmla="*/ 1478604 h 94"/>
              <a:gd name="T10" fmla="*/ 8529060 w 80"/>
              <a:gd name="T11" fmla="*/ 2217906 h 94"/>
              <a:gd name="T12" fmla="*/ 9381890 w 80"/>
              <a:gd name="T13" fmla="*/ 2957209 h 94"/>
              <a:gd name="T14" fmla="*/ 10376859 w 80"/>
              <a:gd name="T15" fmla="*/ 2957209 h 94"/>
              <a:gd name="T16" fmla="*/ 11371828 w 80"/>
              <a:gd name="T17" fmla="*/ 2587557 h 94"/>
              <a:gd name="T18" fmla="*/ 11371828 w 80"/>
              <a:gd name="T19" fmla="*/ 14046132 h 94"/>
              <a:gd name="T20" fmla="*/ 10661136 w 80"/>
              <a:gd name="T21" fmla="*/ 16264039 h 94"/>
              <a:gd name="T22" fmla="*/ 9808305 w 80"/>
              <a:gd name="T23" fmla="*/ 18851596 h 94"/>
              <a:gd name="T24" fmla="*/ 9097613 w 80"/>
              <a:gd name="T25" fmla="*/ 21808805 h 94"/>
              <a:gd name="T26" fmla="*/ 8244406 w 80"/>
              <a:gd name="T27" fmla="*/ 25135664 h 94"/>
              <a:gd name="T28" fmla="*/ 7249437 w 80"/>
              <a:gd name="T29" fmla="*/ 31049473 h 94"/>
              <a:gd name="T30" fmla="*/ 6680883 w 80"/>
              <a:gd name="T31" fmla="*/ 34745984 h 94"/>
              <a:gd name="T32" fmla="*/ 6112329 w 80"/>
              <a:gd name="T33" fmla="*/ 34376333 h 94"/>
              <a:gd name="T34" fmla="*/ 5685914 w 80"/>
              <a:gd name="T35" fmla="*/ 34006682 h 94"/>
              <a:gd name="T36" fmla="*/ 5259499 w 80"/>
              <a:gd name="T37" fmla="*/ 33637031 h 94"/>
              <a:gd name="T38" fmla="*/ 4833083 w 80"/>
              <a:gd name="T39" fmla="*/ 32897729 h 94"/>
              <a:gd name="T40" fmla="*/ 4122391 w 80"/>
              <a:gd name="T41" fmla="*/ 31049473 h 94"/>
              <a:gd name="T42" fmla="*/ 3269561 w 80"/>
              <a:gd name="T43" fmla="*/ 28831567 h 94"/>
              <a:gd name="T44" fmla="*/ 2700630 w 80"/>
              <a:gd name="T45" fmla="*/ 26613661 h 94"/>
              <a:gd name="T46" fmla="*/ 1847800 w 80"/>
              <a:gd name="T47" fmla="*/ 24026711 h 94"/>
              <a:gd name="T48" fmla="*/ 994969 w 80"/>
              <a:gd name="T49" fmla="*/ 22178456 h 94"/>
              <a:gd name="T50" fmla="*/ 0 w 80"/>
              <a:gd name="T51" fmla="*/ 20699852 h 94"/>
              <a:gd name="T52" fmla="*/ 1137107 w 80"/>
              <a:gd name="T53" fmla="*/ 15155086 h 94"/>
              <a:gd name="T54" fmla="*/ 1847800 w 80"/>
              <a:gd name="T55" fmla="*/ 10719273 h 94"/>
              <a:gd name="T56" fmla="*/ 2700630 w 80"/>
              <a:gd name="T57" fmla="*/ 6284068 h 94"/>
              <a:gd name="T58" fmla="*/ 3838115 w 80"/>
              <a:gd name="T59" fmla="*/ 369651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952457" y="7142007"/>
            <a:ext cx="61912" cy="57150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723857" y="4457544"/>
            <a:ext cx="131762" cy="84138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430169" y="4643282"/>
            <a:ext cx="19050" cy="60325"/>
          </a:xfrm>
          <a:custGeom>
            <a:avLst/>
            <a:gdLst>
              <a:gd name="T0" fmla="*/ 0 w 46"/>
              <a:gd name="T1" fmla="*/ 36391660 h 50"/>
              <a:gd name="T2" fmla="*/ 342900 w 46"/>
              <a:gd name="T3" fmla="*/ 26201561 h 50"/>
              <a:gd name="T4" fmla="*/ 171450 w 46"/>
              <a:gd name="T5" fmla="*/ 20378992 h 50"/>
              <a:gd name="T6" fmla="*/ 342900 w 46"/>
              <a:gd name="T7" fmla="*/ 18923953 h 50"/>
              <a:gd name="T8" fmla="*/ 514350 w 46"/>
              <a:gd name="T9" fmla="*/ 18923953 h 50"/>
              <a:gd name="T10" fmla="*/ 1029114 w 46"/>
              <a:gd name="T11" fmla="*/ 17467707 h 50"/>
              <a:gd name="T12" fmla="*/ 2229678 w 46"/>
              <a:gd name="T13" fmla="*/ 17467707 h 50"/>
              <a:gd name="T14" fmla="*/ 7889185 w 46"/>
              <a:gd name="T15" fmla="*/ 0 h 50"/>
              <a:gd name="T16" fmla="*/ 7889185 w 46"/>
              <a:gd name="T17" fmla="*/ 72782113 h 50"/>
              <a:gd name="T18" fmla="*/ 6860071 w 46"/>
              <a:gd name="T19" fmla="*/ 71327074 h 50"/>
              <a:gd name="T20" fmla="*/ 5659507 w 46"/>
              <a:gd name="T21" fmla="*/ 65504505 h 50"/>
              <a:gd name="T22" fmla="*/ 4287492 w 46"/>
              <a:gd name="T23" fmla="*/ 59681936 h 50"/>
              <a:gd name="T24" fmla="*/ 2915478 w 46"/>
              <a:gd name="T25" fmla="*/ 53859367 h 50"/>
              <a:gd name="T26" fmla="*/ 857664 w 46"/>
              <a:gd name="T27" fmla="*/ 40757983 h 50"/>
              <a:gd name="T28" fmla="*/ 0 w 46"/>
              <a:gd name="T29" fmla="*/ 3639166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127082" y="6527644"/>
            <a:ext cx="69850" cy="241300"/>
          </a:xfrm>
          <a:custGeom>
            <a:avLst/>
            <a:gdLst>
              <a:gd name="T0" fmla="*/ 1770655 w 166"/>
              <a:gd name="T1" fmla="*/ 78964896 h 456"/>
              <a:gd name="T2" fmla="*/ 3364161 w 166"/>
              <a:gd name="T3" fmla="*/ 81204858 h 456"/>
              <a:gd name="T4" fmla="*/ 6551173 w 166"/>
              <a:gd name="T5" fmla="*/ 84005208 h 456"/>
              <a:gd name="T6" fmla="*/ 10269212 w 166"/>
              <a:gd name="T7" fmla="*/ 85685313 h 456"/>
              <a:gd name="T8" fmla="*/ 12394167 w 166"/>
              <a:gd name="T9" fmla="*/ 87365417 h 456"/>
              <a:gd name="T10" fmla="*/ 14164823 w 166"/>
              <a:gd name="T11" fmla="*/ 89605379 h 456"/>
              <a:gd name="T12" fmla="*/ 15226879 w 166"/>
              <a:gd name="T13" fmla="*/ 92685658 h 456"/>
              <a:gd name="T14" fmla="*/ 15226879 w 166"/>
              <a:gd name="T15" fmla="*/ 97166113 h 456"/>
              <a:gd name="T16" fmla="*/ 13810523 w 166"/>
              <a:gd name="T17" fmla="*/ 101646567 h 456"/>
              <a:gd name="T18" fmla="*/ 12039868 w 166"/>
              <a:gd name="T19" fmla="*/ 105006775 h 456"/>
              <a:gd name="T20" fmla="*/ 10977811 w 166"/>
              <a:gd name="T21" fmla="*/ 108646912 h 456"/>
              <a:gd name="T22" fmla="*/ 10623512 w 166"/>
              <a:gd name="T23" fmla="*/ 112007121 h 456"/>
              <a:gd name="T24" fmla="*/ 11331690 w 166"/>
              <a:gd name="T25" fmla="*/ 115086871 h 456"/>
              <a:gd name="T26" fmla="*/ 13456645 w 166"/>
              <a:gd name="T27" fmla="*/ 118727537 h 456"/>
              <a:gd name="T28" fmla="*/ 18413891 w 166"/>
              <a:gd name="T29" fmla="*/ 124607637 h 456"/>
              <a:gd name="T30" fmla="*/ 21247023 w 166"/>
              <a:gd name="T31" fmla="*/ 124047779 h 456"/>
              <a:gd name="T32" fmla="*/ 21247023 w 166"/>
              <a:gd name="T33" fmla="*/ 118447079 h 456"/>
              <a:gd name="T34" fmla="*/ 23194829 w 166"/>
              <a:gd name="T35" fmla="*/ 115647258 h 456"/>
              <a:gd name="T36" fmla="*/ 25673662 w 166"/>
              <a:gd name="T37" fmla="*/ 113967154 h 456"/>
              <a:gd name="T38" fmla="*/ 27090018 w 166"/>
              <a:gd name="T39" fmla="*/ 112566979 h 456"/>
              <a:gd name="T40" fmla="*/ 28329224 w 166"/>
              <a:gd name="T41" fmla="*/ 110046558 h 456"/>
              <a:gd name="T42" fmla="*/ 29391702 w 166"/>
              <a:gd name="T43" fmla="*/ 105006775 h 456"/>
              <a:gd name="T44" fmla="*/ 29214552 w 166"/>
              <a:gd name="T45" fmla="*/ 98005900 h 456"/>
              <a:gd name="T46" fmla="*/ 27975346 w 166"/>
              <a:gd name="T47" fmla="*/ 91845871 h 456"/>
              <a:gd name="T48" fmla="*/ 26204690 w 166"/>
              <a:gd name="T49" fmla="*/ 85965242 h 456"/>
              <a:gd name="T50" fmla="*/ 24965063 w 166"/>
              <a:gd name="T51" fmla="*/ 79524754 h 456"/>
              <a:gd name="T52" fmla="*/ 23903007 w 166"/>
              <a:gd name="T53" fmla="*/ 75324758 h 456"/>
              <a:gd name="T54" fmla="*/ 20892724 w 166"/>
              <a:gd name="T55" fmla="*/ 70284446 h 456"/>
              <a:gd name="T56" fmla="*/ 17174684 w 166"/>
              <a:gd name="T57" fmla="*/ 62723712 h 456"/>
              <a:gd name="T58" fmla="*/ 15050150 w 166"/>
              <a:gd name="T59" fmla="*/ 57683400 h 456"/>
              <a:gd name="T60" fmla="*/ 14164823 w 166"/>
              <a:gd name="T61" fmla="*/ 54603121 h 456"/>
              <a:gd name="T62" fmla="*/ 14341552 w 166"/>
              <a:gd name="T63" fmla="*/ 49563338 h 456"/>
              <a:gd name="T64" fmla="*/ 15581179 w 166"/>
              <a:gd name="T65" fmla="*/ 41162817 h 456"/>
              <a:gd name="T66" fmla="*/ 16997535 w 166"/>
              <a:gd name="T67" fmla="*/ 36122504 h 456"/>
              <a:gd name="T68" fmla="*/ 17351834 w 166"/>
              <a:gd name="T69" fmla="*/ 31642050 h 456"/>
              <a:gd name="T70" fmla="*/ 16820385 w 166"/>
              <a:gd name="T71" fmla="*/ 22961600 h 456"/>
              <a:gd name="T72" fmla="*/ 16289357 w 166"/>
              <a:gd name="T73" fmla="*/ 12601046 h 456"/>
              <a:gd name="T74" fmla="*/ 15758328 w 166"/>
              <a:gd name="T75" fmla="*/ 5040313 h 456"/>
              <a:gd name="T76" fmla="*/ 12571317 w 166"/>
              <a:gd name="T77" fmla="*/ 2239963 h 456"/>
              <a:gd name="T78" fmla="*/ 5842995 w 166"/>
              <a:gd name="T79" fmla="*/ 1120246 h 456"/>
              <a:gd name="T80" fmla="*/ 2124534 w 166"/>
              <a:gd name="T81" fmla="*/ 2800350 h 456"/>
              <a:gd name="T82" fmla="*/ 3895189 w 166"/>
              <a:gd name="T83" fmla="*/ 7000346 h 456"/>
              <a:gd name="T84" fmla="*/ 5842995 w 166"/>
              <a:gd name="T85" fmla="*/ 8400521 h 456"/>
              <a:gd name="T86" fmla="*/ 7082201 w 166"/>
              <a:gd name="T87" fmla="*/ 12320588 h 456"/>
              <a:gd name="T88" fmla="*/ 7082201 w 166"/>
              <a:gd name="T89" fmla="*/ 17921288 h 456"/>
              <a:gd name="T90" fmla="*/ 7082201 w 166"/>
              <a:gd name="T91" fmla="*/ 21841354 h 456"/>
              <a:gd name="T92" fmla="*/ 6374023 w 166"/>
              <a:gd name="T93" fmla="*/ 23801388 h 456"/>
              <a:gd name="T94" fmla="*/ 5134817 w 166"/>
              <a:gd name="T95" fmla="*/ 26601737 h 456"/>
              <a:gd name="T96" fmla="*/ 2655983 w 166"/>
              <a:gd name="T97" fmla="*/ 30521804 h 456"/>
              <a:gd name="T98" fmla="*/ 531028 w 166"/>
              <a:gd name="T99" fmla="*/ 34161942 h 456"/>
              <a:gd name="T100" fmla="*/ 1239206 w 166"/>
              <a:gd name="T101" fmla="*/ 77564721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619082" y="5098894"/>
            <a:ext cx="14287" cy="57150"/>
          </a:xfrm>
          <a:custGeom>
            <a:avLst/>
            <a:gdLst>
              <a:gd name="T0" fmla="*/ 7559940 w 27"/>
              <a:gd name="T1" fmla="*/ 0 h 19"/>
              <a:gd name="T2" fmla="*/ 7559940 w 27"/>
              <a:gd name="T3" fmla="*/ 108569961 h 19"/>
              <a:gd name="T4" fmla="*/ 7559940 w 27"/>
              <a:gd name="T5" fmla="*/ 171901184 h 19"/>
              <a:gd name="T6" fmla="*/ 2519803 w 27"/>
              <a:gd name="T7" fmla="*/ 171901184 h 19"/>
              <a:gd name="T8" fmla="*/ 0 w 27"/>
              <a:gd name="T9" fmla="*/ 171901184 h 19"/>
              <a:gd name="T10" fmla="*/ 2519803 w 27"/>
              <a:gd name="T11" fmla="*/ 108569961 h 19"/>
              <a:gd name="T12" fmla="*/ 7559940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938169" y="6719732"/>
            <a:ext cx="188913" cy="217487"/>
          </a:xfrm>
          <a:custGeom>
            <a:avLst/>
            <a:gdLst>
              <a:gd name="T0" fmla="*/ 52831806 w 438"/>
              <a:gd name="T1" fmla="*/ 2295399 h 406"/>
              <a:gd name="T2" fmla="*/ 59528729 w 438"/>
              <a:gd name="T3" fmla="*/ 7747573 h 406"/>
              <a:gd name="T4" fmla="*/ 67527771 w 438"/>
              <a:gd name="T5" fmla="*/ 13486872 h 406"/>
              <a:gd name="T6" fmla="*/ 73480687 w 438"/>
              <a:gd name="T7" fmla="*/ 16643648 h 406"/>
              <a:gd name="T8" fmla="*/ 77387046 w 438"/>
              <a:gd name="T9" fmla="*/ 17504489 h 406"/>
              <a:gd name="T10" fmla="*/ 79061384 w 438"/>
              <a:gd name="T11" fmla="*/ 23243254 h 406"/>
              <a:gd name="T12" fmla="*/ 79805391 w 438"/>
              <a:gd name="T13" fmla="*/ 34434727 h 406"/>
              <a:gd name="T14" fmla="*/ 80735723 w 438"/>
              <a:gd name="T15" fmla="*/ 45051950 h 406"/>
              <a:gd name="T16" fmla="*/ 81479730 w 438"/>
              <a:gd name="T17" fmla="*/ 55956298 h 406"/>
              <a:gd name="T18" fmla="*/ 81479730 w 438"/>
              <a:gd name="T19" fmla="*/ 63990996 h 406"/>
              <a:gd name="T20" fmla="*/ 80921617 w 438"/>
              <a:gd name="T21" fmla="*/ 68008613 h 406"/>
              <a:gd name="T22" fmla="*/ 79061384 w 438"/>
              <a:gd name="T23" fmla="*/ 74321629 h 406"/>
              <a:gd name="T24" fmla="*/ 75712707 w 438"/>
              <a:gd name="T25" fmla="*/ 82356327 h 406"/>
              <a:gd name="T26" fmla="*/ 72736681 w 438"/>
              <a:gd name="T27" fmla="*/ 88095091 h 406"/>
              <a:gd name="T28" fmla="*/ 70876017 w 438"/>
              <a:gd name="T29" fmla="*/ 91825583 h 406"/>
              <a:gd name="T30" fmla="*/ 69573898 w 438"/>
              <a:gd name="T31" fmla="*/ 95269484 h 406"/>
              <a:gd name="T32" fmla="*/ 69202110 w 438"/>
              <a:gd name="T33" fmla="*/ 101008248 h 406"/>
              <a:gd name="T34" fmla="*/ 66783765 w 438"/>
              <a:gd name="T35" fmla="*/ 106747548 h 406"/>
              <a:gd name="T36" fmla="*/ 59714623 w 438"/>
              <a:gd name="T37" fmla="*/ 115069372 h 406"/>
              <a:gd name="T38" fmla="*/ 38135410 w 438"/>
              <a:gd name="T39" fmla="*/ 111338881 h 406"/>
              <a:gd name="T40" fmla="*/ 33856833 w 438"/>
              <a:gd name="T41" fmla="*/ 108756356 h 406"/>
              <a:gd name="T42" fmla="*/ 30694481 w 438"/>
              <a:gd name="T43" fmla="*/ 106173296 h 406"/>
              <a:gd name="T44" fmla="*/ 27903917 w 438"/>
              <a:gd name="T45" fmla="*/ 103017057 h 406"/>
              <a:gd name="T46" fmla="*/ 25857790 w 438"/>
              <a:gd name="T47" fmla="*/ 99286565 h 406"/>
              <a:gd name="T48" fmla="*/ 23067226 w 438"/>
              <a:gd name="T49" fmla="*/ 92399834 h 406"/>
              <a:gd name="T50" fmla="*/ 20090768 w 438"/>
              <a:gd name="T51" fmla="*/ 84938851 h 406"/>
              <a:gd name="T52" fmla="*/ 17486529 w 438"/>
              <a:gd name="T53" fmla="*/ 80060393 h 406"/>
              <a:gd name="T54" fmla="*/ 13393845 w 438"/>
              <a:gd name="T55" fmla="*/ 74321629 h 406"/>
              <a:gd name="T56" fmla="*/ 8185367 w 438"/>
              <a:gd name="T57" fmla="*/ 67147772 h 406"/>
              <a:gd name="T58" fmla="*/ 4464471 w 438"/>
              <a:gd name="T59" fmla="*/ 61121347 h 406"/>
              <a:gd name="T60" fmla="*/ 2418345 w 438"/>
              <a:gd name="T61" fmla="*/ 55956298 h 406"/>
              <a:gd name="T62" fmla="*/ 744007 w 438"/>
              <a:gd name="T63" fmla="*/ 50504124 h 406"/>
              <a:gd name="T64" fmla="*/ 0 w 438"/>
              <a:gd name="T65" fmla="*/ 44191109 h 406"/>
              <a:gd name="T66" fmla="*/ 3348677 w 438"/>
              <a:gd name="T67" fmla="*/ 40460617 h 406"/>
              <a:gd name="T68" fmla="*/ 7440929 w 438"/>
              <a:gd name="T69" fmla="*/ 40460617 h 406"/>
              <a:gd name="T70" fmla="*/ 9859275 w 438"/>
              <a:gd name="T71" fmla="*/ 40460617 h 406"/>
              <a:gd name="T72" fmla="*/ 11719507 w 438"/>
              <a:gd name="T73" fmla="*/ 39599776 h 406"/>
              <a:gd name="T74" fmla="*/ 14324177 w 438"/>
              <a:gd name="T75" fmla="*/ 37590967 h 406"/>
              <a:gd name="T76" fmla="*/ 18416861 w 438"/>
              <a:gd name="T77" fmla="*/ 30991362 h 406"/>
              <a:gd name="T78" fmla="*/ 21765107 w 438"/>
              <a:gd name="T79" fmla="*/ 24964936 h 406"/>
              <a:gd name="T80" fmla="*/ 24183452 w 438"/>
              <a:gd name="T81" fmla="*/ 22956664 h 406"/>
              <a:gd name="T82" fmla="*/ 27903917 w 438"/>
              <a:gd name="T83" fmla="*/ 20373604 h 406"/>
              <a:gd name="T84" fmla="*/ 33298720 w 438"/>
              <a:gd name="T85" fmla="*/ 17217364 h 406"/>
              <a:gd name="T86" fmla="*/ 37763622 w 438"/>
              <a:gd name="T87" fmla="*/ 14347714 h 406"/>
              <a:gd name="T88" fmla="*/ 39251636 w 438"/>
              <a:gd name="T89" fmla="*/ 12338905 h 406"/>
              <a:gd name="T90" fmla="*/ 39065742 w 438"/>
              <a:gd name="T91" fmla="*/ 10904348 h 406"/>
              <a:gd name="T92" fmla="*/ 39251636 w 438"/>
              <a:gd name="T93" fmla="*/ 8608414 h 406"/>
              <a:gd name="T94" fmla="*/ 39623855 w 438"/>
              <a:gd name="T95" fmla="*/ 4878458 h 406"/>
              <a:gd name="T96" fmla="*/ 40367861 w 438"/>
              <a:gd name="T97" fmla="*/ 3443366 h 406"/>
              <a:gd name="T98" fmla="*/ 41855875 w 438"/>
              <a:gd name="T99" fmla="*/ 3443366 h 406"/>
              <a:gd name="T100" fmla="*/ 43158426 w 438"/>
              <a:gd name="T101" fmla="*/ 2582524 h 406"/>
              <a:gd name="T102" fmla="*/ 43902432 w 438"/>
              <a:gd name="T103" fmla="*/ 1147967 h 406"/>
              <a:gd name="T104" fmla="*/ 45390446 w 438"/>
              <a:gd name="T105" fmla="*/ 573716 h 406"/>
              <a:gd name="T106" fmla="*/ 46692565 w 438"/>
              <a:gd name="T107" fmla="*/ 860841 h 406"/>
              <a:gd name="T108" fmla="*/ 49110910 w 438"/>
              <a:gd name="T109" fmla="*/ 28712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850857" y="6495894"/>
            <a:ext cx="293687" cy="300038"/>
          </a:xfrm>
          <a:custGeom>
            <a:avLst/>
            <a:gdLst>
              <a:gd name="T0" fmla="*/ 96256131 w 678"/>
              <a:gd name="T1" fmla="*/ 2185991 h 574"/>
              <a:gd name="T2" fmla="*/ 103573615 w 678"/>
              <a:gd name="T3" fmla="*/ 7104210 h 574"/>
              <a:gd name="T4" fmla="*/ 121023735 w 678"/>
              <a:gd name="T5" fmla="*/ 17213504 h 574"/>
              <a:gd name="T6" fmla="*/ 123838018 w 678"/>
              <a:gd name="T7" fmla="*/ 24044334 h 574"/>
              <a:gd name="T8" fmla="*/ 127215419 w 678"/>
              <a:gd name="T9" fmla="*/ 25683566 h 574"/>
              <a:gd name="T10" fmla="*/ 127215419 w 678"/>
              <a:gd name="T11" fmla="*/ 34700388 h 574"/>
              <a:gd name="T12" fmla="*/ 127027858 w 678"/>
              <a:gd name="T13" fmla="*/ 39345227 h 574"/>
              <a:gd name="T14" fmla="*/ 125151380 w 678"/>
              <a:gd name="T15" fmla="*/ 43170450 h 574"/>
              <a:gd name="T16" fmla="*/ 121398857 w 678"/>
              <a:gd name="T17" fmla="*/ 48634905 h 574"/>
              <a:gd name="T18" fmla="*/ 119709940 w 678"/>
              <a:gd name="T19" fmla="*/ 94537583 h 574"/>
              <a:gd name="T20" fmla="*/ 86499052 w 678"/>
              <a:gd name="T21" fmla="*/ 106013252 h 574"/>
              <a:gd name="T22" fmla="*/ 86499052 w 678"/>
              <a:gd name="T23" fmla="*/ 113390319 h 574"/>
              <a:gd name="T24" fmla="*/ 85373252 w 678"/>
              <a:gd name="T25" fmla="*/ 118855297 h 574"/>
              <a:gd name="T26" fmla="*/ 83309212 w 678"/>
              <a:gd name="T27" fmla="*/ 118855297 h 574"/>
              <a:gd name="T28" fmla="*/ 81432734 w 678"/>
              <a:gd name="T29" fmla="*/ 120221149 h 574"/>
              <a:gd name="T30" fmla="*/ 79744251 w 678"/>
              <a:gd name="T31" fmla="*/ 121587525 h 574"/>
              <a:gd name="T32" fmla="*/ 77680212 w 678"/>
              <a:gd name="T33" fmla="*/ 122133761 h 574"/>
              <a:gd name="T34" fmla="*/ 77117528 w 678"/>
              <a:gd name="T35" fmla="*/ 126505743 h 574"/>
              <a:gd name="T36" fmla="*/ 76929534 w 678"/>
              <a:gd name="T37" fmla="*/ 129511350 h 574"/>
              <a:gd name="T38" fmla="*/ 75616172 w 678"/>
              <a:gd name="T39" fmla="*/ 131970198 h 574"/>
              <a:gd name="T40" fmla="*/ 68486249 w 678"/>
              <a:gd name="T41" fmla="*/ 136068801 h 574"/>
              <a:gd name="T42" fmla="*/ 61919009 w 678"/>
              <a:gd name="T43" fmla="*/ 140166881 h 574"/>
              <a:gd name="T44" fmla="*/ 58729170 w 678"/>
              <a:gd name="T45" fmla="*/ 143445868 h 574"/>
              <a:gd name="T46" fmla="*/ 51974369 w 678"/>
              <a:gd name="T47" fmla="*/ 154101921 h 574"/>
              <a:gd name="T48" fmla="*/ 48409407 w 678"/>
              <a:gd name="T49" fmla="*/ 156560769 h 574"/>
              <a:gd name="T50" fmla="*/ 44656884 w 678"/>
              <a:gd name="T51" fmla="*/ 156834149 h 574"/>
              <a:gd name="T52" fmla="*/ 36213167 w 678"/>
              <a:gd name="T53" fmla="*/ 156834149 h 574"/>
              <a:gd name="T54" fmla="*/ 34899805 w 678"/>
              <a:gd name="T55" fmla="*/ 152735546 h 574"/>
              <a:gd name="T56" fmla="*/ 30959721 w 678"/>
              <a:gd name="T57" fmla="*/ 149457082 h 574"/>
              <a:gd name="T58" fmla="*/ 24955165 w 678"/>
              <a:gd name="T59" fmla="*/ 148910323 h 574"/>
              <a:gd name="T60" fmla="*/ 17450119 w 678"/>
              <a:gd name="T61" fmla="*/ 151915930 h 574"/>
              <a:gd name="T62" fmla="*/ 6192118 w 678"/>
              <a:gd name="T63" fmla="*/ 143992104 h 574"/>
              <a:gd name="T64" fmla="*/ 0 w 678"/>
              <a:gd name="T65" fmla="*/ 77870838 h 574"/>
              <a:gd name="T66" fmla="*/ 13697163 w 678"/>
              <a:gd name="T67" fmla="*/ 78143695 h 574"/>
              <a:gd name="T68" fmla="*/ 19326164 w 678"/>
              <a:gd name="T69" fmla="*/ 77050699 h 574"/>
              <a:gd name="T70" fmla="*/ 22328442 w 678"/>
              <a:gd name="T71" fmla="*/ 75138088 h 574"/>
              <a:gd name="T72" fmla="*/ 24204920 w 678"/>
              <a:gd name="T73" fmla="*/ 69947012 h 574"/>
              <a:gd name="T74" fmla="*/ 24580043 w 678"/>
              <a:gd name="T75" fmla="*/ 62569945 h 574"/>
              <a:gd name="T76" fmla="*/ 23641804 w 678"/>
              <a:gd name="T77" fmla="*/ 50547517 h 574"/>
              <a:gd name="T78" fmla="*/ 24392481 w 678"/>
              <a:gd name="T79" fmla="*/ 45083062 h 574"/>
              <a:gd name="T80" fmla="*/ 26268526 w 678"/>
              <a:gd name="T81" fmla="*/ 46722294 h 574"/>
              <a:gd name="T82" fmla="*/ 32648205 w 678"/>
              <a:gd name="T83" fmla="*/ 47815289 h 574"/>
              <a:gd name="T84" fmla="*/ 35274928 w 678"/>
              <a:gd name="T85" fmla="*/ 50820896 h 574"/>
              <a:gd name="T86" fmla="*/ 36588722 w 678"/>
              <a:gd name="T87" fmla="*/ 54919499 h 574"/>
              <a:gd name="T88" fmla="*/ 39027884 w 678"/>
              <a:gd name="T89" fmla="*/ 57378347 h 574"/>
              <a:gd name="T90" fmla="*/ 45219568 w 678"/>
              <a:gd name="T91" fmla="*/ 59290959 h 574"/>
              <a:gd name="T92" fmla="*/ 50473446 w 678"/>
              <a:gd name="T93" fmla="*/ 58471343 h 574"/>
              <a:gd name="T94" fmla="*/ 56477570 w 678"/>
              <a:gd name="T95" fmla="*/ 54372740 h 574"/>
              <a:gd name="T96" fmla="*/ 59854970 w 678"/>
              <a:gd name="T97" fmla="*/ 53553124 h 574"/>
              <a:gd name="T98" fmla="*/ 62106570 w 678"/>
              <a:gd name="T99" fmla="*/ 52733508 h 574"/>
              <a:gd name="T100" fmla="*/ 64358171 w 678"/>
              <a:gd name="T101" fmla="*/ 51913892 h 574"/>
              <a:gd name="T102" fmla="*/ 66985327 w 678"/>
              <a:gd name="T103" fmla="*/ 49727901 h 574"/>
              <a:gd name="T104" fmla="*/ 69048933 w 678"/>
              <a:gd name="T105" fmla="*/ 45902678 h 574"/>
              <a:gd name="T106" fmla="*/ 71863650 w 678"/>
              <a:gd name="T107" fmla="*/ 34427008 h 574"/>
              <a:gd name="T108" fmla="*/ 75616172 w 678"/>
              <a:gd name="T109" fmla="*/ 12842045 h 574"/>
              <a:gd name="T110" fmla="*/ 77680212 w 678"/>
              <a:gd name="T111" fmla="*/ 2732228 h 574"/>
              <a:gd name="T112" fmla="*/ 80870051 w 678"/>
              <a:gd name="T113" fmla="*/ 1639232 h 574"/>
              <a:gd name="T114" fmla="*/ 84998129 w 678"/>
              <a:gd name="T115" fmla="*/ 2185991 h 574"/>
              <a:gd name="T116" fmla="*/ 90439136 w 678"/>
              <a:gd name="T117" fmla="*/ 273380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587332" y="6768944"/>
            <a:ext cx="350837" cy="381000"/>
          </a:xfrm>
          <a:custGeom>
            <a:avLst/>
            <a:gdLst>
              <a:gd name="T0" fmla="*/ 149519799 w 810"/>
              <a:gd name="T1" fmla="*/ 11535338 h 727"/>
              <a:gd name="T2" fmla="*/ 143704135 w 810"/>
              <a:gd name="T3" fmla="*/ 7140999 h 727"/>
              <a:gd name="T4" fmla="*/ 134699318 w 810"/>
              <a:gd name="T5" fmla="*/ 9063293 h 727"/>
              <a:gd name="T6" fmla="*/ 118940673 w 810"/>
              <a:gd name="T7" fmla="*/ 12084565 h 727"/>
              <a:gd name="T8" fmla="*/ 113312555 w 810"/>
              <a:gd name="T9" fmla="*/ 15105838 h 727"/>
              <a:gd name="T10" fmla="*/ 52528962 w 810"/>
              <a:gd name="T11" fmla="*/ 10986111 h 727"/>
              <a:gd name="T12" fmla="*/ 43524145 w 810"/>
              <a:gd name="T13" fmla="*/ 10162271 h 727"/>
              <a:gd name="T14" fmla="*/ 32267908 w 810"/>
              <a:gd name="T15" fmla="*/ 4668953 h 727"/>
              <a:gd name="T16" fmla="*/ 21761856 w 810"/>
              <a:gd name="T17" fmla="*/ 0 h 727"/>
              <a:gd name="T18" fmla="*/ 15571099 w 810"/>
              <a:gd name="T19" fmla="*/ 1373067 h 727"/>
              <a:gd name="T20" fmla="*/ 9942980 w 810"/>
              <a:gd name="T21" fmla="*/ 6591772 h 727"/>
              <a:gd name="T22" fmla="*/ 0 w 810"/>
              <a:gd name="T23" fmla="*/ 15105838 h 727"/>
              <a:gd name="T24" fmla="*/ 1313257 w 810"/>
              <a:gd name="T25" fmla="*/ 18676337 h 727"/>
              <a:gd name="T26" fmla="*/ 4877501 w 810"/>
              <a:gd name="T27" fmla="*/ 20324018 h 727"/>
              <a:gd name="T28" fmla="*/ 6753829 w 810"/>
              <a:gd name="T29" fmla="*/ 35429856 h 727"/>
              <a:gd name="T30" fmla="*/ 11256237 w 810"/>
              <a:gd name="T31" fmla="*/ 52733125 h 727"/>
              <a:gd name="T32" fmla="*/ 20448600 w 810"/>
              <a:gd name="T33" fmla="*/ 75803802 h 727"/>
              <a:gd name="T34" fmla="*/ 24951441 w 810"/>
              <a:gd name="T35" fmla="*/ 82395050 h 727"/>
              <a:gd name="T36" fmla="*/ 29828941 w 810"/>
              <a:gd name="T37" fmla="*/ 82944801 h 727"/>
              <a:gd name="T38" fmla="*/ 29828941 w 810"/>
              <a:gd name="T39" fmla="*/ 91184253 h 727"/>
              <a:gd name="T40" fmla="*/ 28515685 w 810"/>
              <a:gd name="T41" fmla="*/ 98599865 h 727"/>
              <a:gd name="T42" fmla="*/ 27389975 w 810"/>
              <a:gd name="T43" fmla="*/ 108212385 h 727"/>
              <a:gd name="T44" fmla="*/ 28140592 w 810"/>
              <a:gd name="T45" fmla="*/ 116726451 h 727"/>
              <a:gd name="T46" fmla="*/ 32455454 w 810"/>
              <a:gd name="T47" fmla="*/ 132931267 h 727"/>
              <a:gd name="T48" fmla="*/ 33581165 w 810"/>
              <a:gd name="T49" fmla="*/ 142269173 h 727"/>
              <a:gd name="T50" fmla="*/ 35081967 w 810"/>
              <a:gd name="T51" fmla="*/ 166438304 h 727"/>
              <a:gd name="T52" fmla="*/ 38271119 w 810"/>
              <a:gd name="T53" fmla="*/ 177699029 h 727"/>
              <a:gd name="T54" fmla="*/ 43336599 w 810"/>
              <a:gd name="T55" fmla="*/ 189508981 h 727"/>
              <a:gd name="T56" fmla="*/ 45962679 w 810"/>
              <a:gd name="T57" fmla="*/ 192255640 h 727"/>
              <a:gd name="T58" fmla="*/ 48589192 w 810"/>
              <a:gd name="T59" fmla="*/ 196375366 h 727"/>
              <a:gd name="T60" fmla="*/ 49714902 w 810"/>
              <a:gd name="T61" fmla="*/ 186213095 h 727"/>
              <a:gd name="T62" fmla="*/ 57781988 w 810"/>
              <a:gd name="T63" fmla="*/ 191157186 h 727"/>
              <a:gd name="T64" fmla="*/ 61533778 w 810"/>
              <a:gd name="T65" fmla="*/ 195826139 h 727"/>
              <a:gd name="T66" fmla="*/ 69788409 w 810"/>
              <a:gd name="T67" fmla="*/ 199396638 h 727"/>
              <a:gd name="T68" fmla="*/ 76354692 w 810"/>
              <a:gd name="T69" fmla="*/ 198572798 h 727"/>
              <a:gd name="T70" fmla="*/ 80482008 w 810"/>
              <a:gd name="T71" fmla="*/ 195002298 h 727"/>
              <a:gd name="T72" fmla="*/ 84796870 w 810"/>
              <a:gd name="T73" fmla="*/ 185389254 h 727"/>
              <a:gd name="T74" fmla="*/ 86860311 w 810"/>
              <a:gd name="T75" fmla="*/ 145290446 h 727"/>
              <a:gd name="T76" fmla="*/ 87235403 w 810"/>
              <a:gd name="T77" fmla="*/ 131832289 h 727"/>
              <a:gd name="T78" fmla="*/ 88361114 w 810"/>
              <a:gd name="T79" fmla="*/ 128811541 h 727"/>
              <a:gd name="T80" fmla="*/ 86860311 w 810"/>
              <a:gd name="T81" fmla="*/ 117001065 h 727"/>
              <a:gd name="T82" fmla="*/ 87986021 w 810"/>
              <a:gd name="T83" fmla="*/ 101071387 h 727"/>
              <a:gd name="T84" fmla="*/ 93801686 w 810"/>
              <a:gd name="T85" fmla="*/ 90635026 h 727"/>
              <a:gd name="T86" fmla="*/ 98491640 w 810"/>
              <a:gd name="T87" fmla="*/ 87888367 h 727"/>
              <a:gd name="T88" fmla="*/ 100930607 w 810"/>
              <a:gd name="T89" fmla="*/ 63719237 h 727"/>
              <a:gd name="T90" fmla="*/ 103369574 w 810"/>
              <a:gd name="T91" fmla="*/ 40648560 h 727"/>
              <a:gd name="T92" fmla="*/ 101493246 w 810"/>
              <a:gd name="T93" fmla="*/ 34056788 h 727"/>
              <a:gd name="T94" fmla="*/ 99617351 w 810"/>
              <a:gd name="T95" fmla="*/ 27190403 h 727"/>
              <a:gd name="T96" fmla="*/ 101118154 w 810"/>
              <a:gd name="T97" fmla="*/ 23619904 h 727"/>
              <a:gd name="T98" fmla="*/ 115751521 w 810"/>
              <a:gd name="T99" fmla="*/ 21972223 h 727"/>
              <a:gd name="T100" fmla="*/ 132823423 w 810"/>
              <a:gd name="T101" fmla="*/ 17303270 h 727"/>
              <a:gd name="T102" fmla="*/ 150645510 w 810"/>
              <a:gd name="T103" fmla="*/ 16753519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866607" y="5698969"/>
            <a:ext cx="161925" cy="141288"/>
          </a:xfrm>
          <a:custGeom>
            <a:avLst/>
            <a:gdLst>
              <a:gd name="T0" fmla="*/ 39951999 w 365"/>
              <a:gd name="T1" fmla="*/ 67953272 h 271"/>
              <a:gd name="T2" fmla="*/ 32079782 w 365"/>
              <a:gd name="T3" fmla="*/ 66866240 h 271"/>
              <a:gd name="T4" fmla="*/ 23813622 w 365"/>
              <a:gd name="T5" fmla="*/ 67137868 h 271"/>
              <a:gd name="T6" fmla="*/ 18106320 w 365"/>
              <a:gd name="T7" fmla="*/ 67953272 h 271"/>
              <a:gd name="T8" fmla="*/ 14563934 w 365"/>
              <a:gd name="T9" fmla="*/ 69312452 h 271"/>
              <a:gd name="T10" fmla="*/ 5116830 w 365"/>
              <a:gd name="T11" fmla="*/ 73661620 h 271"/>
              <a:gd name="T12" fmla="*/ 3936330 w 365"/>
              <a:gd name="T13" fmla="*/ 73389992 h 271"/>
              <a:gd name="T14" fmla="*/ 3345858 w 365"/>
              <a:gd name="T15" fmla="*/ 72302440 h 271"/>
              <a:gd name="T16" fmla="*/ 3542387 w 365"/>
              <a:gd name="T17" fmla="*/ 69040824 h 271"/>
              <a:gd name="T18" fmla="*/ 5116830 w 365"/>
              <a:gd name="T19" fmla="*/ 61973818 h 271"/>
              <a:gd name="T20" fmla="*/ 12005075 w 365"/>
              <a:gd name="T21" fmla="*/ 61430041 h 271"/>
              <a:gd name="T22" fmla="*/ 17515849 w 365"/>
              <a:gd name="T23" fmla="*/ 60342489 h 271"/>
              <a:gd name="T24" fmla="*/ 22632679 w 365"/>
              <a:gd name="T25" fmla="*/ 59255457 h 271"/>
              <a:gd name="T26" fmla="*/ 28733924 w 365"/>
              <a:gd name="T27" fmla="*/ 58711681 h 271"/>
              <a:gd name="T28" fmla="*/ 35819141 w 365"/>
              <a:gd name="T29" fmla="*/ 59255457 h 271"/>
              <a:gd name="T30" fmla="*/ 39164556 w 365"/>
              <a:gd name="T31" fmla="*/ 59255457 h 271"/>
              <a:gd name="T32" fmla="*/ 43100886 w 365"/>
              <a:gd name="T33" fmla="*/ 58711681 h 271"/>
              <a:gd name="T34" fmla="*/ 42313442 w 365"/>
              <a:gd name="T35" fmla="*/ 56537097 h 271"/>
              <a:gd name="T36" fmla="*/ 41329471 w 365"/>
              <a:gd name="T37" fmla="*/ 54634662 h 271"/>
              <a:gd name="T38" fmla="*/ 38377556 w 365"/>
              <a:gd name="T39" fmla="*/ 52731705 h 271"/>
              <a:gd name="T40" fmla="*/ 34441226 w 365"/>
              <a:gd name="T41" fmla="*/ 51916302 h 271"/>
              <a:gd name="T42" fmla="*/ 29914867 w 365"/>
              <a:gd name="T43" fmla="*/ 51644674 h 271"/>
              <a:gd name="T44" fmla="*/ 18303292 w 365"/>
              <a:gd name="T45" fmla="*/ 52188451 h 271"/>
              <a:gd name="T46" fmla="*/ 12595547 w 365"/>
              <a:gd name="T47" fmla="*/ 53275482 h 271"/>
              <a:gd name="T48" fmla="*/ 6494745 w 365"/>
              <a:gd name="T49" fmla="*/ 55178438 h 271"/>
              <a:gd name="T50" fmla="*/ 7478717 w 365"/>
              <a:gd name="T51" fmla="*/ 49742239 h 271"/>
              <a:gd name="T52" fmla="*/ 7675689 w 365"/>
              <a:gd name="T53" fmla="*/ 46752251 h 271"/>
              <a:gd name="T54" fmla="*/ 5116830 w 365"/>
              <a:gd name="T55" fmla="*/ 44577667 h 271"/>
              <a:gd name="T56" fmla="*/ 2558415 w 365"/>
              <a:gd name="T57" fmla="*/ 43490115 h 271"/>
              <a:gd name="T58" fmla="*/ 2164915 w 365"/>
              <a:gd name="T59" fmla="*/ 39956872 h 271"/>
              <a:gd name="T60" fmla="*/ 1180943 w 365"/>
              <a:gd name="T61" fmla="*/ 38869319 h 271"/>
              <a:gd name="T62" fmla="*/ 393500 w 365"/>
              <a:gd name="T63" fmla="*/ 38325543 h 271"/>
              <a:gd name="T64" fmla="*/ 0 w 365"/>
              <a:gd name="T65" fmla="*/ 36694735 h 271"/>
              <a:gd name="T66" fmla="*/ 983972 w 365"/>
              <a:gd name="T67" fmla="*/ 31258536 h 271"/>
              <a:gd name="T68" fmla="*/ 3345858 w 365"/>
              <a:gd name="T69" fmla="*/ 25006933 h 271"/>
              <a:gd name="T70" fmla="*/ 5904273 w 365"/>
              <a:gd name="T71" fmla="*/ 18755330 h 271"/>
              <a:gd name="T72" fmla="*/ 7675689 w 365"/>
              <a:gd name="T73" fmla="*/ 13319131 h 271"/>
              <a:gd name="T74" fmla="*/ 9446660 w 365"/>
              <a:gd name="T75" fmla="*/ 11416175 h 271"/>
              <a:gd name="T76" fmla="*/ 9643632 w 365"/>
              <a:gd name="T77" fmla="*/ 13046982 h 271"/>
              <a:gd name="T78" fmla="*/ 10234104 w 365"/>
              <a:gd name="T79" fmla="*/ 9785367 h 271"/>
              <a:gd name="T80" fmla="*/ 14760462 w 365"/>
              <a:gd name="T81" fmla="*/ 8426187 h 271"/>
              <a:gd name="T82" fmla="*/ 22436151 w 365"/>
              <a:gd name="T83" fmla="*/ 4892423 h 271"/>
              <a:gd name="T84" fmla="*/ 32473282 w 365"/>
              <a:gd name="T85" fmla="*/ 0 h 271"/>
              <a:gd name="T86" fmla="*/ 36212641 w 365"/>
              <a:gd name="T87" fmla="*/ 4077019 h 271"/>
              <a:gd name="T88" fmla="*/ 39755027 w 365"/>
              <a:gd name="T89" fmla="*/ 6523752 h 271"/>
              <a:gd name="T90" fmla="*/ 43297858 w 365"/>
              <a:gd name="T91" fmla="*/ 7882411 h 271"/>
              <a:gd name="T92" fmla="*/ 47037216 w 365"/>
              <a:gd name="T93" fmla="*/ 8154559 h 271"/>
              <a:gd name="T94" fmla="*/ 47430716 w 365"/>
              <a:gd name="T95" fmla="*/ 14134535 h 271"/>
              <a:gd name="T96" fmla="*/ 48611660 w 365"/>
              <a:gd name="T97" fmla="*/ 18755330 h 271"/>
              <a:gd name="T98" fmla="*/ 49989131 w 365"/>
              <a:gd name="T99" fmla="*/ 22832349 h 271"/>
              <a:gd name="T100" fmla="*/ 51957074 w 365"/>
              <a:gd name="T101" fmla="*/ 25822337 h 271"/>
              <a:gd name="T102" fmla="*/ 60026263 w 365"/>
              <a:gd name="T103" fmla="*/ 35063928 h 271"/>
              <a:gd name="T104" fmla="*/ 69276395 w 365"/>
              <a:gd name="T105" fmla="*/ 63604625 h 271"/>
              <a:gd name="T106" fmla="*/ 70653867 w 365"/>
              <a:gd name="T107" fmla="*/ 69856228 h 271"/>
              <a:gd name="T108" fmla="*/ 71834810 w 365"/>
              <a:gd name="T109" fmla="*/ 73661620 h 271"/>
              <a:gd name="T110" fmla="*/ 63175150 w 365"/>
              <a:gd name="T111" fmla="*/ 70400004 h 271"/>
              <a:gd name="T112" fmla="*/ 54121989 w 365"/>
              <a:gd name="T113" fmla="*/ 68497048 h 271"/>
              <a:gd name="T114" fmla="*/ 48808188 w 365"/>
              <a:gd name="T115" fmla="*/ 68225421 h 271"/>
              <a:gd name="T116" fmla="*/ 43100886 w 365"/>
              <a:gd name="T117" fmla="*/ 68497048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5039769" y="6260944"/>
            <a:ext cx="269875" cy="334963"/>
          </a:xfrm>
          <a:custGeom>
            <a:avLst/>
            <a:gdLst>
              <a:gd name="T0" fmla="*/ 27309274 w 624"/>
              <a:gd name="T1" fmla="*/ 3287348 h 640"/>
              <a:gd name="T2" fmla="*/ 44704967 w 624"/>
              <a:gd name="T3" fmla="*/ 3287348 h 640"/>
              <a:gd name="T4" fmla="*/ 53683068 w 624"/>
              <a:gd name="T5" fmla="*/ 1369685 h 640"/>
              <a:gd name="T6" fmla="*/ 60977910 w 624"/>
              <a:gd name="T7" fmla="*/ 6026194 h 640"/>
              <a:gd name="T8" fmla="*/ 74071605 w 624"/>
              <a:gd name="T9" fmla="*/ 18079105 h 640"/>
              <a:gd name="T10" fmla="*/ 86978031 w 624"/>
              <a:gd name="T11" fmla="*/ 30405743 h 640"/>
              <a:gd name="T12" fmla="*/ 87726242 w 624"/>
              <a:gd name="T13" fmla="*/ 35884482 h 640"/>
              <a:gd name="T14" fmla="*/ 89783607 w 624"/>
              <a:gd name="T15" fmla="*/ 41910675 h 640"/>
              <a:gd name="T16" fmla="*/ 92963720 w 624"/>
              <a:gd name="T17" fmla="*/ 46567708 h 640"/>
              <a:gd name="T18" fmla="*/ 97078449 w 624"/>
              <a:gd name="T19" fmla="*/ 50128260 h 640"/>
              <a:gd name="T20" fmla="*/ 101567716 w 624"/>
              <a:gd name="T21" fmla="*/ 52045923 h 640"/>
              <a:gd name="T22" fmla="*/ 103625513 w 624"/>
              <a:gd name="T23" fmla="*/ 53415608 h 640"/>
              <a:gd name="T24" fmla="*/ 105682877 w 624"/>
              <a:gd name="T25" fmla="*/ 56154977 h 640"/>
              <a:gd name="T26" fmla="*/ 104934666 w 624"/>
              <a:gd name="T27" fmla="*/ 62181171 h 640"/>
              <a:gd name="T28" fmla="*/ 100445399 w 624"/>
              <a:gd name="T29" fmla="*/ 69029594 h 640"/>
              <a:gd name="T30" fmla="*/ 98200766 w 624"/>
              <a:gd name="T31" fmla="*/ 74234081 h 640"/>
              <a:gd name="T32" fmla="*/ 99697188 w 624"/>
              <a:gd name="T33" fmla="*/ 78616863 h 640"/>
              <a:gd name="T34" fmla="*/ 102315927 w 624"/>
              <a:gd name="T35" fmla="*/ 81904211 h 640"/>
              <a:gd name="T36" fmla="*/ 103251407 w 624"/>
              <a:gd name="T37" fmla="*/ 116418484 h 640"/>
              <a:gd name="T38" fmla="*/ 102877301 w 624"/>
              <a:gd name="T39" fmla="*/ 120253811 h 640"/>
              <a:gd name="T40" fmla="*/ 104373724 w 624"/>
              <a:gd name="T41" fmla="*/ 126553732 h 640"/>
              <a:gd name="T42" fmla="*/ 104373724 w 624"/>
              <a:gd name="T43" fmla="*/ 133950134 h 640"/>
              <a:gd name="T44" fmla="*/ 104934666 w 624"/>
              <a:gd name="T45" fmla="*/ 141072284 h 640"/>
              <a:gd name="T46" fmla="*/ 111107192 w 624"/>
              <a:gd name="T47" fmla="*/ 150385303 h 640"/>
              <a:gd name="T48" fmla="*/ 115222353 w 624"/>
              <a:gd name="T49" fmla="*/ 158603410 h 640"/>
              <a:gd name="T50" fmla="*/ 107553405 w 624"/>
              <a:gd name="T51" fmla="*/ 164355877 h 640"/>
              <a:gd name="T52" fmla="*/ 91841403 w 624"/>
              <a:gd name="T53" fmla="*/ 172847712 h 640"/>
              <a:gd name="T54" fmla="*/ 82862870 w 624"/>
              <a:gd name="T55" fmla="*/ 174764852 h 640"/>
              <a:gd name="T56" fmla="*/ 73323394 w 624"/>
              <a:gd name="T57" fmla="*/ 172025482 h 640"/>
              <a:gd name="T58" fmla="*/ 63409813 w 624"/>
              <a:gd name="T59" fmla="*/ 173395167 h 640"/>
              <a:gd name="T60" fmla="*/ 57237287 w 624"/>
              <a:gd name="T61" fmla="*/ 172025482 h 640"/>
              <a:gd name="T62" fmla="*/ 55927701 w 624"/>
              <a:gd name="T63" fmla="*/ 168190679 h 640"/>
              <a:gd name="T64" fmla="*/ 54992654 w 624"/>
              <a:gd name="T65" fmla="*/ 156959998 h 640"/>
              <a:gd name="T66" fmla="*/ 53870337 w 624"/>
              <a:gd name="T67" fmla="*/ 144907087 h 640"/>
              <a:gd name="T68" fmla="*/ 47323273 w 624"/>
              <a:gd name="T69" fmla="*/ 141619740 h 640"/>
              <a:gd name="T70" fmla="*/ 34604116 w 624"/>
              <a:gd name="T71" fmla="*/ 137511209 h 640"/>
              <a:gd name="T72" fmla="*/ 16834318 w 624"/>
              <a:gd name="T73" fmla="*/ 125732026 h 640"/>
              <a:gd name="T74" fmla="*/ 12719157 w 624"/>
              <a:gd name="T75" fmla="*/ 122170950 h 640"/>
              <a:gd name="T76" fmla="*/ 12345051 w 624"/>
              <a:gd name="T77" fmla="*/ 117240714 h 640"/>
              <a:gd name="T78" fmla="*/ 12158215 w 624"/>
              <a:gd name="T79" fmla="*/ 110118563 h 640"/>
              <a:gd name="T80" fmla="*/ 9913581 w 624"/>
              <a:gd name="T81" fmla="*/ 103270140 h 640"/>
              <a:gd name="T82" fmla="*/ 7668948 w 624"/>
              <a:gd name="T83" fmla="*/ 97791924 h 640"/>
              <a:gd name="T84" fmla="*/ 5050209 w 624"/>
              <a:gd name="T85" fmla="*/ 95052555 h 640"/>
              <a:gd name="T86" fmla="*/ 2244633 w 624"/>
              <a:gd name="T87" fmla="*/ 90943501 h 640"/>
              <a:gd name="T88" fmla="*/ 935048 w 624"/>
              <a:gd name="T89" fmla="*/ 84369329 h 640"/>
              <a:gd name="T90" fmla="*/ 0 w 624"/>
              <a:gd name="T91" fmla="*/ 71768440 h 640"/>
              <a:gd name="T92" fmla="*/ 0 w 624"/>
              <a:gd name="T93" fmla="*/ 64098834 h 640"/>
              <a:gd name="T94" fmla="*/ 1870528 w 624"/>
              <a:gd name="T95" fmla="*/ 58072117 h 640"/>
              <a:gd name="T96" fmla="*/ 7108006 w 624"/>
              <a:gd name="T97" fmla="*/ 53415608 h 640"/>
              <a:gd name="T98" fmla="*/ 11410004 w 624"/>
              <a:gd name="T99" fmla="*/ 47389414 h 640"/>
              <a:gd name="T100" fmla="*/ 14402848 w 624"/>
              <a:gd name="T101" fmla="*/ 21092201 h 640"/>
              <a:gd name="T102" fmla="*/ 15712001 w 624"/>
              <a:gd name="T103" fmla="*/ 11778660 h 640"/>
              <a:gd name="T104" fmla="*/ 15337896 w 624"/>
              <a:gd name="T105" fmla="*/ 2191391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603582" y="4775044"/>
            <a:ext cx="19050" cy="57150"/>
          </a:xfrm>
          <a:custGeom>
            <a:avLst/>
            <a:gdLst>
              <a:gd name="T0" fmla="*/ 1744907 w 52"/>
              <a:gd name="T1" fmla="*/ 65322450 h 50"/>
              <a:gd name="T2" fmla="*/ 0 w 52"/>
              <a:gd name="T3" fmla="*/ 41806368 h 50"/>
              <a:gd name="T4" fmla="*/ 268532 w 52"/>
              <a:gd name="T5" fmla="*/ 32661225 h 50"/>
              <a:gd name="T6" fmla="*/ 805229 w 52"/>
              <a:gd name="T7" fmla="*/ 23516082 h 50"/>
              <a:gd name="T8" fmla="*/ 1610458 w 52"/>
              <a:gd name="T9" fmla="*/ 16983837 h 50"/>
              <a:gd name="T10" fmla="*/ 2415687 w 52"/>
              <a:gd name="T11" fmla="*/ 11758041 h 50"/>
              <a:gd name="T12" fmla="*/ 3489447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4 w 52"/>
              <a:gd name="T19" fmla="*/ 0 h 50"/>
              <a:gd name="T20" fmla="*/ 5368437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0 h 50"/>
              <a:gd name="T26" fmla="*/ 2281604 w 52"/>
              <a:gd name="T27" fmla="*/ 47032164 h 50"/>
              <a:gd name="T28" fmla="*/ 1878989 w 52"/>
              <a:gd name="T29" fmla="*/ 56177307 h 50"/>
              <a:gd name="T30" fmla="*/ 1744907 w 52"/>
              <a:gd name="T31" fmla="*/ 653224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462294" y="4776632"/>
            <a:ext cx="141288" cy="125412"/>
          </a:xfrm>
          <a:custGeom>
            <a:avLst/>
            <a:gdLst>
              <a:gd name="T0" fmla="*/ 14815813 w 320"/>
              <a:gd name="T1" fmla="*/ 66352595 h 234"/>
              <a:gd name="T2" fmla="*/ 11891593 w 320"/>
              <a:gd name="T3" fmla="*/ 64916253 h 234"/>
              <a:gd name="T4" fmla="*/ 12866480 w 320"/>
              <a:gd name="T5" fmla="*/ 63767714 h 234"/>
              <a:gd name="T6" fmla="*/ 15010525 w 320"/>
              <a:gd name="T7" fmla="*/ 62331372 h 234"/>
              <a:gd name="T8" fmla="*/ 12476613 w 320"/>
              <a:gd name="T9" fmla="*/ 58597417 h 234"/>
              <a:gd name="T10" fmla="*/ 8382794 w 320"/>
              <a:gd name="T11" fmla="*/ 54288389 h 234"/>
              <a:gd name="T12" fmla="*/ 7018040 w 320"/>
              <a:gd name="T13" fmla="*/ 51416240 h 234"/>
              <a:gd name="T14" fmla="*/ 6628173 w 320"/>
              <a:gd name="T15" fmla="*/ 49118092 h 234"/>
              <a:gd name="T16" fmla="*/ 6628173 w 320"/>
              <a:gd name="T17" fmla="*/ 47107749 h 234"/>
              <a:gd name="T18" fmla="*/ 7018040 w 320"/>
              <a:gd name="T19" fmla="*/ 45096869 h 234"/>
              <a:gd name="T20" fmla="*/ 8382794 w 320"/>
              <a:gd name="T21" fmla="*/ 42798721 h 234"/>
              <a:gd name="T22" fmla="*/ 10916706 w 320"/>
              <a:gd name="T23" fmla="*/ 40501109 h 234"/>
              <a:gd name="T24" fmla="*/ 14230792 w 320"/>
              <a:gd name="T25" fmla="*/ 39352035 h 234"/>
              <a:gd name="T26" fmla="*/ 15595546 w 320"/>
              <a:gd name="T27" fmla="*/ 36192617 h 234"/>
              <a:gd name="T28" fmla="*/ 13061193 w 320"/>
              <a:gd name="T29" fmla="*/ 31883589 h 234"/>
              <a:gd name="T30" fmla="*/ 11891593 w 320"/>
              <a:gd name="T31" fmla="*/ 29298709 h 234"/>
              <a:gd name="T32" fmla="*/ 11696880 w 320"/>
              <a:gd name="T33" fmla="*/ 24702948 h 234"/>
              <a:gd name="T34" fmla="*/ 10721993 w 320"/>
              <a:gd name="T35" fmla="*/ 20106652 h 234"/>
              <a:gd name="T36" fmla="*/ 8967373 w 320"/>
              <a:gd name="T37" fmla="*/ 13213280 h 234"/>
              <a:gd name="T38" fmla="*/ 6433019 w 320"/>
              <a:gd name="T39" fmla="*/ 8904252 h 234"/>
              <a:gd name="T40" fmla="*/ 3899107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6 w 320"/>
              <a:gd name="T49" fmla="*/ 861806 h 234"/>
              <a:gd name="T50" fmla="*/ 10916706 w 320"/>
              <a:gd name="T51" fmla="*/ 4595760 h 234"/>
              <a:gd name="T52" fmla="*/ 15205679 w 320"/>
              <a:gd name="T53" fmla="*/ 10053326 h 234"/>
              <a:gd name="T54" fmla="*/ 18714479 w 320"/>
              <a:gd name="T55" fmla="*/ 13787817 h 234"/>
              <a:gd name="T56" fmla="*/ 23198165 w 320"/>
              <a:gd name="T57" fmla="*/ 16659966 h 234"/>
              <a:gd name="T58" fmla="*/ 29631626 w 320"/>
              <a:gd name="T59" fmla="*/ 20106652 h 234"/>
              <a:gd name="T60" fmla="*/ 35284912 w 320"/>
              <a:gd name="T61" fmla="*/ 22692069 h 234"/>
              <a:gd name="T62" fmla="*/ 41717931 w 320"/>
              <a:gd name="T63" fmla="*/ 24415680 h 234"/>
              <a:gd name="T64" fmla="*/ 46006905 w 320"/>
              <a:gd name="T65" fmla="*/ 22117532 h 234"/>
              <a:gd name="T66" fmla="*/ 50100725 w 320"/>
              <a:gd name="T67" fmla="*/ 23841143 h 234"/>
              <a:gd name="T68" fmla="*/ 55364144 w 320"/>
              <a:gd name="T69" fmla="*/ 30735051 h 234"/>
              <a:gd name="T70" fmla="*/ 59457964 w 320"/>
              <a:gd name="T71" fmla="*/ 34181737 h 234"/>
              <a:gd name="T72" fmla="*/ 57898498 w 320"/>
              <a:gd name="T73" fmla="*/ 38202961 h 234"/>
              <a:gd name="T74" fmla="*/ 52245212 w 320"/>
              <a:gd name="T75" fmla="*/ 41362914 h 234"/>
              <a:gd name="T76" fmla="*/ 48541259 w 320"/>
              <a:gd name="T77" fmla="*/ 42511452 h 234"/>
              <a:gd name="T78" fmla="*/ 46201618 w 320"/>
              <a:gd name="T79" fmla="*/ 45671406 h 234"/>
              <a:gd name="T80" fmla="*/ 45227172 w 320"/>
              <a:gd name="T81" fmla="*/ 50554435 h 234"/>
              <a:gd name="T82" fmla="*/ 45032018 w 320"/>
              <a:gd name="T83" fmla="*/ 53713852 h 234"/>
              <a:gd name="T84" fmla="*/ 43277839 w 320"/>
              <a:gd name="T85" fmla="*/ 55150195 h 234"/>
              <a:gd name="T86" fmla="*/ 39768598 w 320"/>
              <a:gd name="T87" fmla="*/ 54288389 h 234"/>
              <a:gd name="T88" fmla="*/ 36259799 w 320"/>
              <a:gd name="T89" fmla="*/ 51990777 h 234"/>
              <a:gd name="T90" fmla="*/ 32750558 w 320"/>
              <a:gd name="T91" fmla="*/ 48830824 h 234"/>
              <a:gd name="T92" fmla="*/ 30216205 w 320"/>
              <a:gd name="T93" fmla="*/ 47107749 h 234"/>
              <a:gd name="T94" fmla="*/ 28266872 w 320"/>
              <a:gd name="T95" fmla="*/ 46245943 h 234"/>
              <a:gd name="T96" fmla="*/ 25537806 w 320"/>
              <a:gd name="T97" fmla="*/ 46533211 h 234"/>
              <a:gd name="T98" fmla="*/ 22223719 w 320"/>
              <a:gd name="T99" fmla="*/ 47969018 h 234"/>
              <a:gd name="T100" fmla="*/ 19494653 w 320"/>
              <a:gd name="T101" fmla="*/ 49692629 h 234"/>
              <a:gd name="T102" fmla="*/ 16960300 w 320"/>
              <a:gd name="T103" fmla="*/ 51128972 h 234"/>
              <a:gd name="T104" fmla="*/ 16570433 w 320"/>
              <a:gd name="T105" fmla="*/ 52565314 h 234"/>
              <a:gd name="T106" fmla="*/ 18714479 w 320"/>
              <a:gd name="T107" fmla="*/ 54862926 h 234"/>
              <a:gd name="T108" fmla="*/ 22613586 w 320"/>
              <a:gd name="T109" fmla="*/ 57448343 h 234"/>
              <a:gd name="T110" fmla="*/ 24562919 w 320"/>
              <a:gd name="T111" fmla="*/ 60895029 h 234"/>
              <a:gd name="T112" fmla="*/ 22028565 w 320"/>
              <a:gd name="T113" fmla="*/ 64342251 h 234"/>
              <a:gd name="T114" fmla="*/ 19884520 w 320"/>
              <a:gd name="T115" fmla="*/ 66352595 h 234"/>
              <a:gd name="T116" fmla="*/ 17740033 w 320"/>
              <a:gd name="T117" fmla="*/ 67214401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432132" y="5130644"/>
            <a:ext cx="52387" cy="57150"/>
          </a:xfrm>
          <a:custGeom>
            <a:avLst/>
            <a:gdLst>
              <a:gd name="T0" fmla="*/ 5796098 w 125"/>
              <a:gd name="T1" fmla="*/ 7175090 h 93"/>
              <a:gd name="T2" fmla="*/ 7552529 w 125"/>
              <a:gd name="T3" fmla="*/ 7175090 h 93"/>
              <a:gd name="T4" fmla="*/ 9133359 w 125"/>
              <a:gd name="T5" fmla="*/ 7175090 h 93"/>
              <a:gd name="T6" fmla="*/ 9660163 w 125"/>
              <a:gd name="T7" fmla="*/ 7175090 h 93"/>
              <a:gd name="T8" fmla="*/ 10187386 w 125"/>
              <a:gd name="T9" fmla="*/ 6419850 h 93"/>
              <a:gd name="T10" fmla="*/ 10714189 w 125"/>
              <a:gd name="T11" fmla="*/ 5664610 h 93"/>
              <a:gd name="T12" fmla="*/ 11416594 w 125"/>
              <a:gd name="T13" fmla="*/ 4154129 h 93"/>
              <a:gd name="T14" fmla="*/ 11943817 w 125"/>
              <a:gd name="T15" fmla="*/ 3020961 h 93"/>
              <a:gd name="T16" fmla="*/ 12295019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4 w 125"/>
              <a:gd name="T23" fmla="*/ 0 h 93"/>
              <a:gd name="T24" fmla="*/ 21428378 w 125"/>
              <a:gd name="T25" fmla="*/ 5664610 h 93"/>
              <a:gd name="T26" fmla="*/ 21955182 w 125"/>
              <a:gd name="T27" fmla="*/ 9440811 h 93"/>
              <a:gd name="T28" fmla="*/ 21779581 w 125"/>
              <a:gd name="T29" fmla="*/ 10951292 h 93"/>
              <a:gd name="T30" fmla="*/ 21428378 w 125"/>
              <a:gd name="T31" fmla="*/ 12461773 h 93"/>
              <a:gd name="T32" fmla="*/ 20901156 w 125"/>
              <a:gd name="T33" fmla="*/ 13217013 h 93"/>
              <a:gd name="T34" fmla="*/ 20549953 w 125"/>
              <a:gd name="T35" fmla="*/ 13972253 h 93"/>
              <a:gd name="T36" fmla="*/ 19496346 w 125"/>
              <a:gd name="T37" fmla="*/ 15105421 h 93"/>
              <a:gd name="T38" fmla="*/ 18266718 w 125"/>
              <a:gd name="T39" fmla="*/ 15482734 h 93"/>
              <a:gd name="T40" fmla="*/ 15456260 w 125"/>
              <a:gd name="T41" fmla="*/ 15482734 h 93"/>
              <a:gd name="T42" fmla="*/ 12646222 w 125"/>
              <a:gd name="T43" fmla="*/ 16237974 h 93"/>
              <a:gd name="T44" fmla="*/ 12295019 w 125"/>
              <a:gd name="T45" fmla="*/ 17748455 h 93"/>
              <a:gd name="T46" fmla="*/ 12119418 w 125"/>
              <a:gd name="T47" fmla="*/ 20014176 h 93"/>
              <a:gd name="T48" fmla="*/ 11767797 w 125"/>
              <a:gd name="T49" fmla="*/ 23035137 h 93"/>
              <a:gd name="T50" fmla="*/ 11767797 w 125"/>
              <a:gd name="T51" fmla="*/ 26811953 h 93"/>
              <a:gd name="T52" fmla="*/ 11592195 w 125"/>
              <a:gd name="T53" fmla="*/ 32475948 h 93"/>
              <a:gd name="T54" fmla="*/ 11592195 w 125"/>
              <a:gd name="T55" fmla="*/ 35119597 h 93"/>
              <a:gd name="T56" fmla="*/ 8606555 w 125"/>
              <a:gd name="T57" fmla="*/ 32098635 h 93"/>
              <a:gd name="T58" fmla="*/ 4742490 w 125"/>
              <a:gd name="T59" fmla="*/ 27567194 h 93"/>
              <a:gd name="T60" fmla="*/ 2810458 w 125"/>
              <a:gd name="T61" fmla="*/ 24546232 h 93"/>
              <a:gd name="T62" fmla="*/ 1229628 w 125"/>
              <a:gd name="T63" fmla="*/ 21902584 h 93"/>
              <a:gd name="T64" fmla="*/ 702405 w 125"/>
              <a:gd name="T65" fmla="*/ 20392103 h 93"/>
              <a:gd name="T66" fmla="*/ 351202 w 125"/>
              <a:gd name="T67" fmla="*/ 18881623 h 93"/>
              <a:gd name="T68" fmla="*/ 0 w 125"/>
              <a:gd name="T69" fmla="*/ 17748455 h 93"/>
              <a:gd name="T70" fmla="*/ 0 w 125"/>
              <a:gd name="T71" fmla="*/ 16237974 h 93"/>
              <a:gd name="T72" fmla="*/ 1229628 w 125"/>
              <a:gd name="T73" fmla="*/ 16237974 h 93"/>
              <a:gd name="T74" fmla="*/ 2634437 w 125"/>
              <a:gd name="T75" fmla="*/ 15482734 h 93"/>
              <a:gd name="T76" fmla="*/ 3512863 w 125"/>
              <a:gd name="T77" fmla="*/ 14727494 h 93"/>
              <a:gd name="T78" fmla="*/ 4039666 w 125"/>
              <a:gd name="T79" fmla="*/ 13594940 h 93"/>
              <a:gd name="T80" fmla="*/ 4918092 w 125"/>
              <a:gd name="T81" fmla="*/ 10573365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378157" y="5144932"/>
            <a:ext cx="60325" cy="84137"/>
          </a:xfrm>
          <a:custGeom>
            <a:avLst/>
            <a:gdLst>
              <a:gd name="T0" fmla="*/ 4114346 w 133"/>
              <a:gd name="T1" fmla="*/ 3581832 h 154"/>
              <a:gd name="T2" fmla="*/ 4937579 w 133"/>
              <a:gd name="T3" fmla="*/ 2984678 h 154"/>
              <a:gd name="T4" fmla="*/ 6377668 w 133"/>
              <a:gd name="T5" fmla="*/ 1790916 h 154"/>
              <a:gd name="T6" fmla="*/ 6994525 w 133"/>
              <a:gd name="T7" fmla="*/ 1193762 h 154"/>
              <a:gd name="T8" fmla="*/ 7611836 w 133"/>
              <a:gd name="T9" fmla="*/ 597154 h 154"/>
              <a:gd name="T10" fmla="*/ 8640536 w 133"/>
              <a:gd name="T11" fmla="*/ 298304 h 154"/>
              <a:gd name="T12" fmla="*/ 9463314 w 133"/>
              <a:gd name="T13" fmla="*/ 0 h 154"/>
              <a:gd name="T14" fmla="*/ 12138025 w 133"/>
              <a:gd name="T15" fmla="*/ 298304 h 154"/>
              <a:gd name="T16" fmla="*/ 14400893 w 133"/>
              <a:gd name="T17" fmla="*/ 1193762 h 154"/>
              <a:gd name="T18" fmla="*/ 16663761 w 133"/>
              <a:gd name="T19" fmla="*/ 2388070 h 154"/>
              <a:gd name="T20" fmla="*/ 18515239 w 133"/>
              <a:gd name="T21" fmla="*/ 4178986 h 154"/>
              <a:gd name="T22" fmla="*/ 20367171 w 133"/>
              <a:gd name="T23" fmla="*/ 6268207 h 154"/>
              <a:gd name="T24" fmla="*/ 21601339 w 133"/>
              <a:gd name="T25" fmla="*/ 8954581 h 154"/>
              <a:gd name="T26" fmla="*/ 23041429 w 133"/>
              <a:gd name="T27" fmla="*/ 11939805 h 154"/>
              <a:gd name="T28" fmla="*/ 23864207 w 133"/>
              <a:gd name="T29" fmla="*/ 14924483 h 154"/>
              <a:gd name="T30" fmla="*/ 24892907 w 133"/>
              <a:gd name="T31" fmla="*/ 17909708 h 154"/>
              <a:gd name="T32" fmla="*/ 25510218 w 133"/>
              <a:gd name="T33" fmla="*/ 21192690 h 154"/>
              <a:gd name="T34" fmla="*/ 26127529 w 133"/>
              <a:gd name="T35" fmla="*/ 24476218 h 154"/>
              <a:gd name="T36" fmla="*/ 26744386 w 133"/>
              <a:gd name="T37" fmla="*/ 28058050 h 154"/>
              <a:gd name="T38" fmla="*/ 27155775 w 133"/>
              <a:gd name="T39" fmla="*/ 34625107 h 154"/>
              <a:gd name="T40" fmla="*/ 27361696 w 133"/>
              <a:gd name="T41" fmla="*/ 40296160 h 154"/>
              <a:gd name="T42" fmla="*/ 27155775 w 133"/>
              <a:gd name="T43" fmla="*/ 41191618 h 154"/>
              <a:gd name="T44" fmla="*/ 26744386 w 133"/>
              <a:gd name="T45" fmla="*/ 42087622 h 154"/>
              <a:gd name="T46" fmla="*/ 25715686 w 133"/>
              <a:gd name="T47" fmla="*/ 42983080 h 154"/>
              <a:gd name="T48" fmla="*/ 24892907 w 133"/>
              <a:gd name="T49" fmla="*/ 43878538 h 154"/>
              <a:gd name="T50" fmla="*/ 23658739 w 133"/>
              <a:gd name="T51" fmla="*/ 44773996 h 154"/>
              <a:gd name="T52" fmla="*/ 22630039 w 133"/>
              <a:gd name="T53" fmla="*/ 45669454 h 154"/>
              <a:gd name="T54" fmla="*/ 21395418 w 133"/>
              <a:gd name="T55" fmla="*/ 45967758 h 154"/>
              <a:gd name="T56" fmla="*/ 20367171 w 133"/>
              <a:gd name="T57" fmla="*/ 45967758 h 154"/>
              <a:gd name="T58" fmla="*/ 19132550 w 133"/>
              <a:gd name="T59" fmla="*/ 45669454 h 154"/>
              <a:gd name="T60" fmla="*/ 17898382 w 133"/>
              <a:gd name="T61" fmla="*/ 44475146 h 154"/>
              <a:gd name="T62" fmla="*/ 16252371 w 133"/>
              <a:gd name="T63" fmla="*/ 42087622 h 154"/>
              <a:gd name="T64" fmla="*/ 14606814 w 133"/>
              <a:gd name="T65" fmla="*/ 39997856 h 154"/>
              <a:gd name="T66" fmla="*/ 13166725 w 133"/>
              <a:gd name="T67" fmla="*/ 37609785 h 154"/>
              <a:gd name="T68" fmla="*/ 11932104 w 133"/>
              <a:gd name="T69" fmla="*/ 35222261 h 154"/>
              <a:gd name="T70" fmla="*/ 11109325 w 133"/>
              <a:gd name="T71" fmla="*/ 33132495 h 154"/>
              <a:gd name="T72" fmla="*/ 10903404 w 133"/>
              <a:gd name="T73" fmla="*/ 31341579 h 154"/>
              <a:gd name="T74" fmla="*/ 11109325 w 133"/>
              <a:gd name="T75" fmla="*/ 29252359 h 154"/>
              <a:gd name="T76" fmla="*/ 11520714 w 133"/>
              <a:gd name="T77" fmla="*/ 24775068 h 154"/>
              <a:gd name="T78" fmla="*/ 11932104 w 133"/>
              <a:gd name="T79" fmla="*/ 20297232 h 154"/>
              <a:gd name="T80" fmla="*/ 12138025 w 133"/>
              <a:gd name="T81" fmla="*/ 18506316 h 154"/>
              <a:gd name="T82" fmla="*/ 9669236 w 133"/>
              <a:gd name="T83" fmla="*/ 18208012 h 154"/>
              <a:gd name="T84" fmla="*/ 7406368 w 133"/>
              <a:gd name="T85" fmla="*/ 17610858 h 154"/>
              <a:gd name="T86" fmla="*/ 5143046 w 133"/>
              <a:gd name="T87" fmla="*/ 16715399 h 154"/>
              <a:gd name="T88" fmla="*/ 3497489 w 133"/>
              <a:gd name="T89" fmla="*/ 15521637 h 154"/>
              <a:gd name="T90" fmla="*/ 2674257 w 133"/>
              <a:gd name="T91" fmla="*/ 14626179 h 154"/>
              <a:gd name="T92" fmla="*/ 2057400 w 133"/>
              <a:gd name="T93" fmla="*/ 13730721 h 154"/>
              <a:gd name="T94" fmla="*/ 1440089 w 133"/>
              <a:gd name="T95" fmla="*/ 12835263 h 154"/>
              <a:gd name="T96" fmla="*/ 822779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7 h 154"/>
              <a:gd name="T102" fmla="*/ 0 w 133"/>
              <a:gd name="T103" fmla="*/ 7163665 h 154"/>
              <a:gd name="T104" fmla="*/ 0 w 133"/>
              <a:gd name="T105" fmla="*/ 5372748 h 154"/>
              <a:gd name="T106" fmla="*/ 1440089 w 133"/>
              <a:gd name="T107" fmla="*/ 4477290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394032" y="4906807"/>
            <a:ext cx="209550" cy="244475"/>
          </a:xfrm>
          <a:custGeom>
            <a:avLst/>
            <a:gdLst>
              <a:gd name="T0" fmla="*/ 25014653 w 485"/>
              <a:gd name="T1" fmla="*/ 95781962 h 468"/>
              <a:gd name="T2" fmla="*/ 31174991 w 485"/>
              <a:gd name="T3" fmla="*/ 92507668 h 468"/>
              <a:gd name="T4" fmla="*/ 37335329 w 485"/>
              <a:gd name="T5" fmla="*/ 92507668 h 468"/>
              <a:gd name="T6" fmla="*/ 42189112 w 485"/>
              <a:gd name="T7" fmla="*/ 94963388 h 468"/>
              <a:gd name="T8" fmla="*/ 41815811 w 485"/>
              <a:gd name="T9" fmla="*/ 89232853 h 468"/>
              <a:gd name="T10" fmla="*/ 41069208 w 485"/>
              <a:gd name="T11" fmla="*/ 86231243 h 468"/>
              <a:gd name="T12" fmla="*/ 43495667 w 485"/>
              <a:gd name="T13" fmla="*/ 82683743 h 468"/>
              <a:gd name="T14" fmla="*/ 44616003 w 485"/>
              <a:gd name="T15" fmla="*/ 75316061 h 468"/>
              <a:gd name="T16" fmla="*/ 45175956 w 485"/>
              <a:gd name="T17" fmla="*/ 67129283 h 468"/>
              <a:gd name="T18" fmla="*/ 50029738 w 485"/>
              <a:gd name="T19" fmla="*/ 69585525 h 468"/>
              <a:gd name="T20" fmla="*/ 56003426 w 485"/>
              <a:gd name="T21" fmla="*/ 64946246 h 468"/>
              <a:gd name="T22" fmla="*/ 58990269 w 485"/>
              <a:gd name="T23" fmla="*/ 59215711 h 468"/>
              <a:gd name="T24" fmla="*/ 54696439 w 485"/>
              <a:gd name="T25" fmla="*/ 52939285 h 468"/>
              <a:gd name="T26" fmla="*/ 59363571 w 485"/>
              <a:gd name="T27" fmla="*/ 54303748 h 468"/>
              <a:gd name="T28" fmla="*/ 64030271 w 485"/>
              <a:gd name="T29" fmla="*/ 55122322 h 468"/>
              <a:gd name="T30" fmla="*/ 64590223 w 485"/>
              <a:gd name="T31" fmla="*/ 50483565 h 468"/>
              <a:gd name="T32" fmla="*/ 55069740 w 485"/>
              <a:gd name="T33" fmla="*/ 26196959 h 468"/>
              <a:gd name="T34" fmla="*/ 53203233 w 485"/>
              <a:gd name="T35" fmla="*/ 14462681 h 468"/>
              <a:gd name="T36" fmla="*/ 54323137 w 485"/>
              <a:gd name="T37" fmla="*/ 5184646 h 468"/>
              <a:gd name="T38" fmla="*/ 58990269 w 485"/>
              <a:gd name="T39" fmla="*/ 272684 h 468"/>
              <a:gd name="T40" fmla="*/ 62723716 w 485"/>
              <a:gd name="T41" fmla="*/ 4911962 h 468"/>
              <a:gd name="T42" fmla="*/ 70377259 w 485"/>
              <a:gd name="T43" fmla="*/ 12279645 h 468"/>
              <a:gd name="T44" fmla="*/ 77471283 w 485"/>
              <a:gd name="T45" fmla="*/ 19647850 h 468"/>
              <a:gd name="T46" fmla="*/ 79524441 w 485"/>
              <a:gd name="T47" fmla="*/ 26742326 h 468"/>
              <a:gd name="T48" fmla="*/ 81391380 w 485"/>
              <a:gd name="T49" fmla="*/ 37384824 h 468"/>
              <a:gd name="T50" fmla="*/ 83071669 w 485"/>
              <a:gd name="T51" fmla="*/ 47208749 h 468"/>
              <a:gd name="T52" fmla="*/ 79897742 w 485"/>
              <a:gd name="T53" fmla="*/ 48845896 h 468"/>
              <a:gd name="T54" fmla="*/ 76910899 w 485"/>
              <a:gd name="T55" fmla="*/ 50483565 h 468"/>
              <a:gd name="T56" fmla="*/ 79524441 w 485"/>
              <a:gd name="T57" fmla="*/ 54303748 h 468"/>
              <a:gd name="T58" fmla="*/ 83071669 w 485"/>
              <a:gd name="T59" fmla="*/ 55395528 h 468"/>
              <a:gd name="T60" fmla="*/ 84938176 w 485"/>
              <a:gd name="T61" fmla="*/ 71495356 h 468"/>
              <a:gd name="T62" fmla="*/ 88671623 w 485"/>
              <a:gd name="T63" fmla="*/ 85139464 h 468"/>
              <a:gd name="T64" fmla="*/ 89605308 w 485"/>
              <a:gd name="T65" fmla="*/ 103968740 h 468"/>
              <a:gd name="T66" fmla="*/ 86431814 w 485"/>
              <a:gd name="T67" fmla="*/ 99329461 h 468"/>
              <a:gd name="T68" fmla="*/ 84564875 w 485"/>
              <a:gd name="T69" fmla="*/ 97146425 h 468"/>
              <a:gd name="T70" fmla="*/ 81391380 w 485"/>
              <a:gd name="T71" fmla="*/ 99056778 h 468"/>
              <a:gd name="T72" fmla="*/ 80084825 w 485"/>
              <a:gd name="T73" fmla="*/ 108880702 h 468"/>
              <a:gd name="T74" fmla="*/ 76164296 w 485"/>
              <a:gd name="T75" fmla="*/ 106151776 h 468"/>
              <a:gd name="T76" fmla="*/ 72617500 w 485"/>
              <a:gd name="T77" fmla="*/ 104241424 h 468"/>
              <a:gd name="T78" fmla="*/ 70190609 w 485"/>
              <a:gd name="T79" fmla="*/ 109699276 h 468"/>
              <a:gd name="T80" fmla="*/ 64403572 w 485"/>
              <a:gd name="T81" fmla="*/ 112700885 h 468"/>
              <a:gd name="T82" fmla="*/ 62350414 w 485"/>
              <a:gd name="T83" fmla="*/ 109153386 h 468"/>
              <a:gd name="T84" fmla="*/ 58243234 w 485"/>
              <a:gd name="T85" fmla="*/ 107788923 h 468"/>
              <a:gd name="T86" fmla="*/ 56563378 w 485"/>
              <a:gd name="T87" fmla="*/ 116248385 h 468"/>
              <a:gd name="T88" fmla="*/ 55816343 w 485"/>
              <a:gd name="T89" fmla="*/ 122797494 h 468"/>
              <a:gd name="T90" fmla="*/ 57309981 w 485"/>
              <a:gd name="T91" fmla="*/ 127163567 h 468"/>
              <a:gd name="T92" fmla="*/ 50776341 w 485"/>
              <a:gd name="T93" fmla="*/ 127709456 h 468"/>
              <a:gd name="T94" fmla="*/ 48162799 w 485"/>
              <a:gd name="T95" fmla="*/ 126890883 h 468"/>
              <a:gd name="T96" fmla="*/ 45549257 w 485"/>
              <a:gd name="T97" fmla="*/ 120068568 h 468"/>
              <a:gd name="T98" fmla="*/ 42749064 w 485"/>
              <a:gd name="T99" fmla="*/ 114065349 h 468"/>
              <a:gd name="T100" fmla="*/ 38082364 w 485"/>
              <a:gd name="T101" fmla="*/ 110790533 h 468"/>
              <a:gd name="T102" fmla="*/ 35468822 w 485"/>
              <a:gd name="T103" fmla="*/ 107516239 h 468"/>
              <a:gd name="T104" fmla="*/ 25387955 w 485"/>
              <a:gd name="T105" fmla="*/ 113792142 h 468"/>
              <a:gd name="T106" fmla="*/ 16801157 w 485"/>
              <a:gd name="T107" fmla="*/ 118704105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1 h 468"/>
              <a:gd name="T114" fmla="*/ 0 w 485"/>
              <a:gd name="T115" fmla="*/ 113792142 h 468"/>
              <a:gd name="T116" fmla="*/ 1306555 w 485"/>
              <a:gd name="T117" fmla="*/ 112700885 h 468"/>
              <a:gd name="T118" fmla="*/ 5040434 w 485"/>
              <a:gd name="T119" fmla="*/ 112973569 h 468"/>
              <a:gd name="T120" fmla="*/ 8960531 w 485"/>
              <a:gd name="T121" fmla="*/ 110517849 h 468"/>
              <a:gd name="T122" fmla="*/ 13440580 w 485"/>
              <a:gd name="T123" fmla="*/ 100693924 h 468"/>
              <a:gd name="T124" fmla="*/ 17361109 w 485"/>
              <a:gd name="T125" fmla="*/ 96055168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977857" y="3797144"/>
            <a:ext cx="107950" cy="60325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120732" y="3779682"/>
            <a:ext cx="63500" cy="57150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157244" y="3787619"/>
            <a:ext cx="130175" cy="57150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690644" y="3973357"/>
            <a:ext cx="41275" cy="57150"/>
          </a:xfrm>
          <a:custGeom>
            <a:avLst/>
            <a:gdLst>
              <a:gd name="T0" fmla="*/ 15843822 w 100"/>
              <a:gd name="T1" fmla="*/ 0 h 42"/>
              <a:gd name="T2" fmla="*/ 16525272 w 100"/>
              <a:gd name="T3" fmla="*/ 12960804 h 42"/>
              <a:gd name="T4" fmla="*/ 17036256 w 100"/>
              <a:gd name="T5" fmla="*/ 33327975 h 42"/>
              <a:gd name="T6" fmla="*/ 15673356 w 100"/>
              <a:gd name="T7" fmla="*/ 44436846 h 42"/>
              <a:gd name="T8" fmla="*/ 14651387 w 100"/>
              <a:gd name="T9" fmla="*/ 53695146 h 42"/>
              <a:gd name="T10" fmla="*/ 13458539 w 100"/>
              <a:gd name="T11" fmla="*/ 62952086 h 42"/>
              <a:gd name="T12" fmla="*/ 12266105 w 100"/>
              <a:gd name="T13" fmla="*/ 68506521 h 42"/>
              <a:gd name="T14" fmla="*/ 11073670 w 100"/>
              <a:gd name="T15" fmla="*/ 72210386 h 42"/>
              <a:gd name="T16" fmla="*/ 9710769 w 100"/>
              <a:gd name="T17" fmla="*/ 75912889 h 42"/>
              <a:gd name="T18" fmla="*/ 8347869 w 100"/>
              <a:gd name="T19" fmla="*/ 77764821 h 42"/>
              <a:gd name="T20" fmla="*/ 6814503 w 100"/>
              <a:gd name="T21" fmla="*/ 77764821 h 42"/>
              <a:gd name="T22" fmla="*/ 4599686 w 100"/>
              <a:gd name="T23" fmla="*/ 75912889 h 42"/>
              <a:gd name="T24" fmla="*/ 2044351 w 100"/>
              <a:gd name="T25" fmla="*/ 72210386 h 42"/>
              <a:gd name="T26" fmla="*/ 170466 w 100"/>
              <a:gd name="T27" fmla="*/ 68506521 h 42"/>
              <a:gd name="T28" fmla="*/ 0 w 100"/>
              <a:gd name="T29" fmla="*/ 66655950 h 42"/>
              <a:gd name="T30" fmla="*/ 1022382 w 100"/>
              <a:gd name="T31" fmla="*/ 66655950 h 42"/>
              <a:gd name="T32" fmla="*/ 2044351 w 100"/>
              <a:gd name="T33" fmla="*/ 64804018 h 42"/>
              <a:gd name="T34" fmla="*/ 3066733 w 100"/>
              <a:gd name="T35" fmla="*/ 61101514 h 42"/>
              <a:gd name="T36" fmla="*/ 3918236 w 100"/>
              <a:gd name="T37" fmla="*/ 55545718 h 42"/>
              <a:gd name="T38" fmla="*/ 5622068 w 100"/>
              <a:gd name="T39" fmla="*/ 46288779 h 42"/>
              <a:gd name="T40" fmla="*/ 7495953 w 100"/>
              <a:gd name="T41" fmla="*/ 33327975 h 42"/>
              <a:gd name="T42" fmla="*/ 9369838 w 100"/>
              <a:gd name="T43" fmla="*/ 20367171 h 42"/>
              <a:gd name="T44" fmla="*/ 11244136 w 100"/>
              <a:gd name="T45" fmla="*/ 9258300 h 42"/>
              <a:gd name="T46" fmla="*/ 12266105 w 100"/>
              <a:gd name="T47" fmla="*/ 5554436 h 42"/>
              <a:gd name="T48" fmla="*/ 13458539 w 100"/>
              <a:gd name="T49" fmla="*/ 1851932 h 42"/>
              <a:gd name="T50" fmla="*/ 14651387 w 100"/>
              <a:gd name="T51" fmla="*/ 0 h 42"/>
              <a:gd name="T52" fmla="*/ 15843822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600157" y="3832069"/>
            <a:ext cx="15875" cy="58738"/>
          </a:xfrm>
          <a:custGeom>
            <a:avLst/>
            <a:gdLst>
              <a:gd name="T0" fmla="*/ 6300391 w 40"/>
              <a:gd name="T1" fmla="*/ 690030529 h 5"/>
              <a:gd name="T2" fmla="*/ 0 w 40"/>
              <a:gd name="T3" fmla="*/ 690030529 h 5"/>
              <a:gd name="T4" fmla="*/ 787400 w 40"/>
              <a:gd name="T5" fmla="*/ 414020667 h 5"/>
              <a:gd name="T6" fmla="*/ 1417638 w 40"/>
              <a:gd name="T7" fmla="*/ 138010805 h 5"/>
              <a:gd name="T8" fmla="*/ 2362597 w 40"/>
              <a:gd name="T9" fmla="*/ 0 h 5"/>
              <a:gd name="T10" fmla="*/ 3150394 w 40"/>
              <a:gd name="T11" fmla="*/ 0 h 5"/>
              <a:gd name="T12" fmla="*/ 3937794 w 40"/>
              <a:gd name="T13" fmla="*/ 0 h 5"/>
              <a:gd name="T14" fmla="*/ 4725194 w 40"/>
              <a:gd name="T15" fmla="*/ 138010805 h 5"/>
              <a:gd name="T16" fmla="*/ 5512991 w 40"/>
              <a:gd name="T17" fmla="*/ 414020667 h 5"/>
              <a:gd name="T18" fmla="*/ 6300391 w 40"/>
              <a:gd name="T19" fmla="*/ 690030529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622382" y="3790794"/>
            <a:ext cx="14287" cy="60325"/>
          </a:xfrm>
          <a:custGeom>
            <a:avLst/>
            <a:gdLst>
              <a:gd name="T0" fmla="*/ 0 w 33"/>
              <a:gd name="T1" fmla="*/ 71948265 h 31"/>
              <a:gd name="T2" fmla="*/ 3748822 w 33"/>
              <a:gd name="T3" fmla="*/ 0 h 31"/>
              <a:gd name="T4" fmla="*/ 3748822 w 33"/>
              <a:gd name="T5" fmla="*/ 15147413 h 31"/>
              <a:gd name="T6" fmla="*/ 4123748 w 33"/>
              <a:gd name="T7" fmla="*/ 37868532 h 31"/>
              <a:gd name="T8" fmla="*/ 4685703 w 33"/>
              <a:gd name="T9" fmla="*/ 53015945 h 31"/>
              <a:gd name="T10" fmla="*/ 5060629 w 33"/>
              <a:gd name="T11" fmla="*/ 68161412 h 31"/>
              <a:gd name="T12" fmla="*/ 5810480 w 33"/>
              <a:gd name="T13" fmla="*/ 98456238 h 31"/>
              <a:gd name="T14" fmla="*/ 6185405 w 33"/>
              <a:gd name="T15" fmla="*/ 117390504 h 31"/>
              <a:gd name="T16" fmla="*/ 0 w 33"/>
              <a:gd name="T17" fmla="*/ 117390504 h 31"/>
              <a:gd name="T18" fmla="*/ 0 w 33"/>
              <a:gd name="T19" fmla="*/ 94669385 h 31"/>
              <a:gd name="T20" fmla="*/ 0 w 33"/>
              <a:gd name="T21" fmla="*/ 71948265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766844" y="3906682"/>
            <a:ext cx="17463" cy="57150"/>
          </a:xfrm>
          <a:custGeom>
            <a:avLst/>
            <a:gdLst>
              <a:gd name="T0" fmla="*/ 7437960 w 41"/>
              <a:gd name="T1" fmla="*/ 0 h 43"/>
              <a:gd name="T2" fmla="*/ 7437960 w 41"/>
              <a:gd name="T3" fmla="*/ 75956337 h 43"/>
              <a:gd name="T4" fmla="*/ 5623938 w 41"/>
              <a:gd name="T5" fmla="*/ 74190003 h 43"/>
              <a:gd name="T6" fmla="*/ 4353824 w 41"/>
              <a:gd name="T7" fmla="*/ 70657336 h 43"/>
              <a:gd name="T8" fmla="*/ 3265581 w 41"/>
              <a:gd name="T9" fmla="*/ 65358335 h 43"/>
              <a:gd name="T10" fmla="*/ 2358357 w 41"/>
              <a:gd name="T11" fmla="*/ 58291671 h 43"/>
              <a:gd name="T12" fmla="*/ 907224 w 41"/>
              <a:gd name="T13" fmla="*/ 44161001 h 43"/>
              <a:gd name="T14" fmla="*/ 0 w 41"/>
              <a:gd name="T15" fmla="*/ 33561670 h 43"/>
              <a:gd name="T16" fmla="*/ 2176912 w 41"/>
              <a:gd name="T17" fmla="*/ 22963667 h 43"/>
              <a:gd name="T18" fmla="*/ 4535269 w 41"/>
              <a:gd name="T19" fmla="*/ 12364336 h 43"/>
              <a:gd name="T20" fmla="*/ 6530736 w 41"/>
              <a:gd name="T21" fmla="*/ 3532667 h 43"/>
              <a:gd name="T22" fmla="*/ 7437960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820819" y="3790794"/>
            <a:ext cx="93663" cy="60325"/>
          </a:xfrm>
          <a:custGeom>
            <a:avLst/>
            <a:gdLst>
              <a:gd name="T0" fmla="*/ 11795382 w 213"/>
              <a:gd name="T1" fmla="*/ 0 h 62"/>
              <a:gd name="T2" fmla="*/ 16049353 w 213"/>
              <a:gd name="T3" fmla="*/ 0 h 62"/>
              <a:gd name="T4" fmla="*/ 20303324 w 213"/>
              <a:gd name="T5" fmla="*/ 946713 h 62"/>
              <a:gd name="T6" fmla="*/ 24557295 w 213"/>
              <a:gd name="T7" fmla="*/ 2840140 h 62"/>
              <a:gd name="T8" fmla="*/ 28231259 w 213"/>
              <a:gd name="T9" fmla="*/ 6626993 h 62"/>
              <a:gd name="T10" fmla="*/ 32098706 w 213"/>
              <a:gd name="T11" fmla="*/ 10413846 h 62"/>
              <a:gd name="T12" fmla="*/ 35579188 w 213"/>
              <a:gd name="T13" fmla="*/ 15147413 h 62"/>
              <a:gd name="T14" fmla="*/ 36932684 w 213"/>
              <a:gd name="T15" fmla="*/ 17987553 h 62"/>
              <a:gd name="T16" fmla="*/ 38479663 w 213"/>
              <a:gd name="T17" fmla="*/ 21774406 h 62"/>
              <a:gd name="T18" fmla="*/ 40026641 w 213"/>
              <a:gd name="T19" fmla="*/ 25561259 h 62"/>
              <a:gd name="T20" fmla="*/ 41186655 w 213"/>
              <a:gd name="T21" fmla="*/ 29348113 h 62"/>
              <a:gd name="T22" fmla="*/ 40800130 w 213"/>
              <a:gd name="T23" fmla="*/ 33133993 h 62"/>
              <a:gd name="T24" fmla="*/ 40026641 w 213"/>
              <a:gd name="T25" fmla="*/ 35974133 h 62"/>
              <a:gd name="T26" fmla="*/ 38866187 w 213"/>
              <a:gd name="T27" fmla="*/ 38814273 h 62"/>
              <a:gd name="T28" fmla="*/ 37706173 w 213"/>
              <a:gd name="T29" fmla="*/ 41654413 h 62"/>
              <a:gd name="T30" fmla="*/ 34225691 w 213"/>
              <a:gd name="T31" fmla="*/ 46387979 h 62"/>
              <a:gd name="T32" fmla="*/ 30164763 w 213"/>
              <a:gd name="T33" fmla="*/ 50174832 h 62"/>
              <a:gd name="T34" fmla="*/ 26104274 w 213"/>
              <a:gd name="T35" fmla="*/ 53961685 h 62"/>
              <a:gd name="T36" fmla="*/ 22043345 w 213"/>
              <a:gd name="T37" fmla="*/ 55855112 h 62"/>
              <a:gd name="T38" fmla="*/ 18369821 w 213"/>
              <a:gd name="T39" fmla="*/ 58695252 h 62"/>
              <a:gd name="T40" fmla="*/ 15469346 w 213"/>
              <a:gd name="T41" fmla="*/ 58695252 h 62"/>
              <a:gd name="T42" fmla="*/ 11988424 w 213"/>
              <a:gd name="T43" fmla="*/ 58695252 h 62"/>
              <a:gd name="T44" fmla="*/ 8314460 w 213"/>
              <a:gd name="T45" fmla="*/ 55855112 h 62"/>
              <a:gd name="T46" fmla="*/ 6380957 w 213"/>
              <a:gd name="T47" fmla="*/ 55855112 h 62"/>
              <a:gd name="T48" fmla="*/ 4447453 w 213"/>
              <a:gd name="T49" fmla="*/ 55855112 h 62"/>
              <a:gd name="T50" fmla="*/ 2320468 w 213"/>
              <a:gd name="T51" fmla="*/ 56801825 h 62"/>
              <a:gd name="T52" fmla="*/ 0 w 213"/>
              <a:gd name="T53" fmla="*/ 58695252 h 62"/>
              <a:gd name="T54" fmla="*/ 1160014 w 213"/>
              <a:gd name="T55" fmla="*/ 47334692 h 62"/>
              <a:gd name="T56" fmla="*/ 2126986 w 213"/>
              <a:gd name="T57" fmla="*/ 36920846 h 62"/>
              <a:gd name="T58" fmla="*/ 3287000 w 213"/>
              <a:gd name="T59" fmla="*/ 27454686 h 62"/>
              <a:gd name="T60" fmla="*/ 4447453 w 213"/>
              <a:gd name="T61" fmla="*/ 18934266 h 62"/>
              <a:gd name="T62" fmla="*/ 5220943 w 213"/>
              <a:gd name="T63" fmla="*/ 15147413 h 62"/>
              <a:gd name="T64" fmla="*/ 5800950 w 213"/>
              <a:gd name="T65" fmla="*/ 11360560 h 62"/>
              <a:gd name="T66" fmla="*/ 6574439 w 213"/>
              <a:gd name="T67" fmla="*/ 8520420 h 62"/>
              <a:gd name="T68" fmla="*/ 7541411 w 213"/>
              <a:gd name="T69" fmla="*/ 5680280 h 62"/>
              <a:gd name="T70" fmla="*/ 8314460 w 213"/>
              <a:gd name="T71" fmla="*/ 2840140 h 62"/>
              <a:gd name="T72" fmla="*/ 9474914 w 213"/>
              <a:gd name="T73" fmla="*/ 946713 h 62"/>
              <a:gd name="T74" fmla="*/ 10441885 w 213"/>
              <a:gd name="T75" fmla="*/ 0 h 62"/>
              <a:gd name="T76" fmla="*/ 11795382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881144" y="3816194"/>
            <a:ext cx="103188" cy="60325"/>
          </a:xfrm>
          <a:custGeom>
            <a:avLst/>
            <a:gdLst>
              <a:gd name="T0" fmla="*/ 7642820 w 239"/>
              <a:gd name="T1" fmla="*/ 0 h 56"/>
              <a:gd name="T2" fmla="*/ 5592012 w 239"/>
              <a:gd name="T3" fmla="*/ 3481614 h 56"/>
              <a:gd name="T4" fmla="*/ 4287267 w 239"/>
              <a:gd name="T5" fmla="*/ 5801972 h 56"/>
              <a:gd name="T6" fmla="*/ 3541637 w 239"/>
              <a:gd name="T7" fmla="*/ 8123408 h 56"/>
              <a:gd name="T8" fmla="*/ 2796006 w 239"/>
              <a:gd name="T9" fmla="*/ 10443766 h 56"/>
              <a:gd name="T10" fmla="*/ 2423407 w 239"/>
              <a:gd name="T11" fmla="*/ 15085559 h 56"/>
              <a:gd name="T12" fmla="*/ 1863860 w 239"/>
              <a:gd name="T13" fmla="*/ 17405917 h 56"/>
              <a:gd name="T14" fmla="*/ 1304745 w 239"/>
              <a:gd name="T15" fmla="*/ 19727352 h 56"/>
              <a:gd name="T16" fmla="*/ 0 w 239"/>
              <a:gd name="T17" fmla="*/ 22047710 h 56"/>
              <a:gd name="T18" fmla="*/ 372599 w 239"/>
              <a:gd name="T19" fmla="*/ 27850760 h 56"/>
              <a:gd name="T20" fmla="*/ 932146 w 239"/>
              <a:gd name="T21" fmla="*/ 31331297 h 56"/>
              <a:gd name="T22" fmla="*/ 1304745 w 239"/>
              <a:gd name="T23" fmla="*/ 34812911 h 56"/>
              <a:gd name="T24" fmla="*/ 1863860 w 239"/>
              <a:gd name="T25" fmla="*/ 38294525 h 56"/>
              <a:gd name="T26" fmla="*/ 3169037 w 239"/>
              <a:gd name="T27" fmla="*/ 41775063 h 56"/>
              <a:gd name="T28" fmla="*/ 4473783 w 239"/>
              <a:gd name="T29" fmla="*/ 44096498 h 56"/>
              <a:gd name="T30" fmla="*/ 7642820 w 239"/>
              <a:gd name="T31" fmla="*/ 44096498 h 56"/>
              <a:gd name="T32" fmla="*/ 10065795 w 239"/>
              <a:gd name="T33" fmla="*/ 44096498 h 56"/>
              <a:gd name="T34" fmla="*/ 28520472 w 239"/>
              <a:gd name="T35" fmla="*/ 44096498 h 56"/>
              <a:gd name="T36" fmla="*/ 28893072 w 239"/>
              <a:gd name="T37" fmla="*/ 47578112 h 56"/>
              <a:gd name="T38" fmla="*/ 29079587 w 239"/>
              <a:gd name="T39" fmla="*/ 51058649 h 56"/>
              <a:gd name="T40" fmla="*/ 29638702 w 239"/>
              <a:gd name="T41" fmla="*/ 53380084 h 56"/>
              <a:gd name="T42" fmla="*/ 30197817 w 239"/>
              <a:gd name="T43" fmla="*/ 55700442 h 56"/>
              <a:gd name="T44" fmla="*/ 31129963 w 239"/>
              <a:gd name="T45" fmla="*/ 59182057 h 56"/>
              <a:gd name="T46" fmla="*/ 32434708 w 239"/>
              <a:gd name="T47" fmla="*/ 62663671 h 56"/>
              <a:gd name="T48" fmla="*/ 35044631 w 239"/>
              <a:gd name="T49" fmla="*/ 64984029 h 56"/>
              <a:gd name="T50" fmla="*/ 37281522 w 239"/>
              <a:gd name="T51" fmla="*/ 64984029 h 56"/>
              <a:gd name="T52" fmla="*/ 38027153 w 239"/>
              <a:gd name="T53" fmla="*/ 63823850 h 56"/>
              <a:gd name="T54" fmla="*/ 39145382 w 239"/>
              <a:gd name="T55" fmla="*/ 62663671 h 56"/>
              <a:gd name="T56" fmla="*/ 39891013 w 239"/>
              <a:gd name="T57" fmla="*/ 60342236 h 56"/>
              <a:gd name="T58" fmla="*/ 41009674 w 239"/>
              <a:gd name="T59" fmla="*/ 56860621 h 56"/>
              <a:gd name="T60" fmla="*/ 42873535 w 239"/>
              <a:gd name="T61" fmla="*/ 49898470 h 56"/>
              <a:gd name="T62" fmla="*/ 44551311 w 239"/>
              <a:gd name="T63" fmla="*/ 44096498 h 56"/>
              <a:gd name="T64" fmla="*/ 43246566 w 239"/>
              <a:gd name="T65" fmla="*/ 42936319 h 56"/>
              <a:gd name="T66" fmla="*/ 41941820 w 239"/>
              <a:gd name="T67" fmla="*/ 41775063 h 56"/>
              <a:gd name="T68" fmla="*/ 40823159 w 239"/>
              <a:gd name="T69" fmla="*/ 39454704 h 56"/>
              <a:gd name="T70" fmla="*/ 39704929 w 239"/>
              <a:gd name="T71" fmla="*/ 37133269 h 56"/>
              <a:gd name="T72" fmla="*/ 37468038 w 239"/>
              <a:gd name="T73" fmla="*/ 30171118 h 56"/>
              <a:gd name="T74" fmla="*/ 35417230 w 239"/>
              <a:gd name="T75" fmla="*/ 22047710 h 56"/>
              <a:gd name="T76" fmla="*/ 33180339 w 239"/>
              <a:gd name="T77" fmla="*/ 15085559 h 56"/>
              <a:gd name="T78" fmla="*/ 31129963 w 239"/>
              <a:gd name="T79" fmla="*/ 6962151 h 56"/>
              <a:gd name="T80" fmla="*/ 29825218 w 239"/>
              <a:gd name="T81" fmla="*/ 4641793 h 56"/>
              <a:gd name="T82" fmla="*/ 28706556 w 239"/>
              <a:gd name="T83" fmla="*/ 2320358 h 56"/>
              <a:gd name="T84" fmla="*/ 27401811 w 239"/>
              <a:gd name="T85" fmla="*/ 1160179 h 56"/>
              <a:gd name="T86" fmla="*/ 26097066 w 239"/>
              <a:gd name="T87" fmla="*/ 0 h 56"/>
              <a:gd name="T88" fmla="*/ 24978404 w 239"/>
              <a:gd name="T89" fmla="*/ 1160179 h 56"/>
              <a:gd name="T90" fmla="*/ 23673659 w 239"/>
              <a:gd name="T91" fmla="*/ 4641793 h 56"/>
              <a:gd name="T92" fmla="*/ 23114544 w 239"/>
              <a:gd name="T93" fmla="*/ 6962151 h 56"/>
              <a:gd name="T94" fmla="*/ 22741513 w 239"/>
              <a:gd name="T95" fmla="*/ 9283587 h 56"/>
              <a:gd name="T96" fmla="*/ 22555429 w 239"/>
              <a:gd name="T97" fmla="*/ 11603945 h 56"/>
              <a:gd name="T98" fmla="*/ 22368913 w 239"/>
              <a:gd name="T99" fmla="*/ 15085559 h 56"/>
              <a:gd name="T100" fmla="*/ 18640761 w 239"/>
              <a:gd name="T101" fmla="*/ 9283587 h 56"/>
              <a:gd name="T102" fmla="*/ 14912609 w 239"/>
              <a:gd name="T103" fmla="*/ 4641793 h 56"/>
              <a:gd name="T104" fmla="*/ 11370972 w 239"/>
              <a:gd name="T105" fmla="*/ 1160179 h 56"/>
              <a:gd name="T106" fmla="*/ 7642820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998619" y="3830482"/>
            <a:ext cx="82550" cy="57150"/>
          </a:xfrm>
          <a:custGeom>
            <a:avLst/>
            <a:gdLst>
              <a:gd name="T0" fmla="*/ 2728123 w 187"/>
              <a:gd name="T1" fmla="*/ 9696212 h 80"/>
              <a:gd name="T2" fmla="*/ 7989692 w 187"/>
              <a:gd name="T3" fmla="*/ 0 h 80"/>
              <a:gd name="T4" fmla="*/ 8574605 w 187"/>
              <a:gd name="T5" fmla="*/ 1530906 h 80"/>
              <a:gd name="T6" fmla="*/ 9743549 w 187"/>
              <a:gd name="T7" fmla="*/ 3061811 h 80"/>
              <a:gd name="T8" fmla="*/ 11302728 w 187"/>
              <a:gd name="T9" fmla="*/ 4592717 h 80"/>
              <a:gd name="T10" fmla="*/ 13056585 w 187"/>
              <a:gd name="T11" fmla="*/ 6124337 h 80"/>
              <a:gd name="T12" fmla="*/ 17343887 w 187"/>
              <a:gd name="T13" fmla="*/ 9696212 h 80"/>
              <a:gd name="T14" fmla="*/ 22215662 w 187"/>
              <a:gd name="T15" fmla="*/ 13268801 h 80"/>
              <a:gd name="T16" fmla="*/ 27087436 w 187"/>
              <a:gd name="T17" fmla="*/ 16840676 h 80"/>
              <a:gd name="T18" fmla="*/ 31374297 w 187"/>
              <a:gd name="T19" fmla="*/ 19392424 h 80"/>
              <a:gd name="T20" fmla="*/ 34492657 w 187"/>
              <a:gd name="T21" fmla="*/ 21434108 h 80"/>
              <a:gd name="T22" fmla="*/ 36441190 w 187"/>
              <a:gd name="T23" fmla="*/ 21944171 h 80"/>
              <a:gd name="T24" fmla="*/ 36441190 w 187"/>
              <a:gd name="T25" fmla="*/ 28578572 h 80"/>
              <a:gd name="T26" fmla="*/ 36441190 w 187"/>
              <a:gd name="T27" fmla="*/ 34702909 h 80"/>
              <a:gd name="T28" fmla="*/ 33128154 w 187"/>
              <a:gd name="T29" fmla="*/ 35723036 h 80"/>
              <a:gd name="T30" fmla="*/ 29425764 w 187"/>
              <a:gd name="T31" fmla="*/ 36233814 h 80"/>
              <a:gd name="T32" fmla="*/ 25918051 w 187"/>
              <a:gd name="T33" fmla="*/ 36233814 h 80"/>
              <a:gd name="T34" fmla="*/ 22605015 w 187"/>
              <a:gd name="T35" fmla="*/ 35723036 h 80"/>
              <a:gd name="T36" fmla="*/ 16564298 w 187"/>
              <a:gd name="T37" fmla="*/ 35212973 h 80"/>
              <a:gd name="T38" fmla="*/ 11887200 w 187"/>
              <a:gd name="T39" fmla="*/ 34702909 h 80"/>
              <a:gd name="T40" fmla="*/ 10717815 w 187"/>
              <a:gd name="T41" fmla="*/ 35212973 h 80"/>
              <a:gd name="T42" fmla="*/ 9938667 w 187"/>
              <a:gd name="T43" fmla="*/ 35723036 h 80"/>
              <a:gd name="T44" fmla="*/ 8769282 w 187"/>
              <a:gd name="T45" fmla="*/ 36743878 h 80"/>
              <a:gd name="T46" fmla="*/ 7989692 w 187"/>
              <a:gd name="T47" fmla="*/ 37764720 h 80"/>
              <a:gd name="T48" fmla="*/ 6430954 w 187"/>
              <a:gd name="T49" fmla="*/ 39805689 h 80"/>
              <a:gd name="T50" fmla="*/ 5456246 w 187"/>
              <a:gd name="T51" fmla="*/ 40826531 h 80"/>
              <a:gd name="T52" fmla="*/ 4287303 w 187"/>
              <a:gd name="T53" fmla="*/ 40316468 h 80"/>
              <a:gd name="T54" fmla="*/ 3507713 w 187"/>
              <a:gd name="T55" fmla="*/ 38785562 h 80"/>
              <a:gd name="T56" fmla="*/ 2728123 w 187"/>
              <a:gd name="T57" fmla="*/ 36743878 h 80"/>
              <a:gd name="T58" fmla="*/ 1753856 w 187"/>
              <a:gd name="T59" fmla="*/ 34192131 h 80"/>
              <a:gd name="T60" fmla="*/ 1169385 w 187"/>
              <a:gd name="T61" fmla="*/ 31640383 h 80"/>
              <a:gd name="T62" fmla="*/ 584472 w 187"/>
              <a:gd name="T63" fmla="*/ 29088636 h 80"/>
              <a:gd name="T64" fmla="*/ 389795 w 187"/>
              <a:gd name="T65" fmla="*/ 27047666 h 80"/>
              <a:gd name="T66" fmla="*/ 0 w 187"/>
              <a:gd name="T67" fmla="*/ 25516761 h 80"/>
              <a:gd name="T68" fmla="*/ 389795 w 187"/>
              <a:gd name="T69" fmla="*/ 22454949 h 80"/>
              <a:gd name="T70" fmla="*/ 584472 w 187"/>
              <a:gd name="T71" fmla="*/ 20413266 h 80"/>
              <a:gd name="T72" fmla="*/ 974267 w 187"/>
              <a:gd name="T73" fmla="*/ 18372296 h 80"/>
              <a:gd name="T74" fmla="*/ 1364061 w 187"/>
              <a:gd name="T75" fmla="*/ 15820549 h 80"/>
              <a:gd name="T76" fmla="*/ 2533446 w 187"/>
              <a:gd name="T77" fmla="*/ 12247959 h 80"/>
              <a:gd name="T78" fmla="*/ 2728123 w 187"/>
              <a:gd name="T79" fmla="*/ 9696212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525669" y="3955894"/>
            <a:ext cx="79375" cy="58738"/>
          </a:xfrm>
          <a:custGeom>
            <a:avLst/>
            <a:gdLst>
              <a:gd name="T0" fmla="*/ 9406588 w 183"/>
              <a:gd name="T1" fmla="*/ 0 h 73"/>
              <a:gd name="T2" fmla="*/ 11852466 w 183"/>
              <a:gd name="T3" fmla="*/ 0 h 73"/>
              <a:gd name="T4" fmla="*/ 14110099 w 183"/>
              <a:gd name="T5" fmla="*/ 647727 h 73"/>
              <a:gd name="T6" fmla="*/ 16179488 w 183"/>
              <a:gd name="T7" fmla="*/ 2590104 h 73"/>
              <a:gd name="T8" fmla="*/ 18248876 w 183"/>
              <a:gd name="T9" fmla="*/ 4531677 h 73"/>
              <a:gd name="T10" fmla="*/ 19942210 w 183"/>
              <a:gd name="T11" fmla="*/ 6474054 h 73"/>
              <a:gd name="T12" fmla="*/ 21823354 w 183"/>
              <a:gd name="T13" fmla="*/ 9711081 h 73"/>
              <a:gd name="T14" fmla="*/ 23328443 w 183"/>
              <a:gd name="T15" fmla="*/ 12301186 h 73"/>
              <a:gd name="T16" fmla="*/ 24645287 w 183"/>
              <a:gd name="T17" fmla="*/ 16185940 h 73"/>
              <a:gd name="T18" fmla="*/ 29913098 w 183"/>
              <a:gd name="T19" fmla="*/ 31724152 h 73"/>
              <a:gd name="T20" fmla="*/ 34428364 w 183"/>
              <a:gd name="T21" fmla="*/ 47262365 h 73"/>
              <a:gd name="T22" fmla="*/ 25774320 w 183"/>
              <a:gd name="T23" fmla="*/ 47262365 h 73"/>
              <a:gd name="T24" fmla="*/ 24080987 w 183"/>
              <a:gd name="T25" fmla="*/ 46614638 h 73"/>
              <a:gd name="T26" fmla="*/ 22011598 w 183"/>
              <a:gd name="T27" fmla="*/ 45319988 h 73"/>
              <a:gd name="T28" fmla="*/ 19565721 w 183"/>
              <a:gd name="T29" fmla="*/ 42730688 h 73"/>
              <a:gd name="T30" fmla="*/ 16932032 w 183"/>
              <a:gd name="T31" fmla="*/ 40140584 h 73"/>
              <a:gd name="T32" fmla="*/ 13733610 w 183"/>
              <a:gd name="T33" fmla="*/ 36255829 h 73"/>
              <a:gd name="T34" fmla="*/ 10911677 w 183"/>
              <a:gd name="T35" fmla="*/ 32371880 h 73"/>
              <a:gd name="T36" fmla="*/ 7901499 w 183"/>
              <a:gd name="T37" fmla="*/ 28487125 h 73"/>
              <a:gd name="T38" fmla="*/ 5267811 w 183"/>
              <a:gd name="T39" fmla="*/ 23954644 h 73"/>
              <a:gd name="T40" fmla="*/ 3010178 w 183"/>
              <a:gd name="T41" fmla="*/ 19422967 h 73"/>
              <a:gd name="T42" fmla="*/ 1316844 w 183"/>
              <a:gd name="T43" fmla="*/ 14890485 h 73"/>
              <a:gd name="T44" fmla="*/ 752544 w 183"/>
              <a:gd name="T45" fmla="*/ 12301186 h 73"/>
              <a:gd name="T46" fmla="*/ 376055 w 183"/>
              <a:gd name="T47" fmla="*/ 10358808 h 73"/>
              <a:gd name="T48" fmla="*/ 188245 w 183"/>
              <a:gd name="T49" fmla="*/ 9064158 h 73"/>
              <a:gd name="T50" fmla="*/ 0 w 183"/>
              <a:gd name="T51" fmla="*/ 7121781 h 73"/>
              <a:gd name="T52" fmla="*/ 188245 w 183"/>
              <a:gd name="T53" fmla="*/ 5179404 h 73"/>
              <a:gd name="T54" fmla="*/ 564300 w 183"/>
              <a:gd name="T55" fmla="*/ 3884754 h 73"/>
              <a:gd name="T56" fmla="*/ 1316844 w 183"/>
              <a:gd name="T57" fmla="*/ 2590104 h 73"/>
              <a:gd name="T58" fmla="*/ 2445878 w 183"/>
              <a:gd name="T59" fmla="*/ 1942377 h 73"/>
              <a:gd name="T60" fmla="*/ 3574477 w 183"/>
              <a:gd name="T61" fmla="*/ 647727 h 73"/>
              <a:gd name="T62" fmla="*/ 5267811 w 183"/>
              <a:gd name="T63" fmla="*/ 0 h 73"/>
              <a:gd name="T64" fmla="*/ 7148955 w 183"/>
              <a:gd name="T65" fmla="*/ 0 h 73"/>
              <a:gd name="T66" fmla="*/ 9406588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592344" y="3973357"/>
            <a:ext cx="33338" cy="57150"/>
          </a:xfrm>
          <a:custGeom>
            <a:avLst/>
            <a:gdLst>
              <a:gd name="T0" fmla="*/ 0 w 79"/>
              <a:gd name="T1" fmla="*/ 11108871 h 42"/>
              <a:gd name="T2" fmla="*/ 4095932 w 79"/>
              <a:gd name="T3" fmla="*/ 3702504 h 42"/>
              <a:gd name="T4" fmla="*/ 7301444 w 79"/>
              <a:gd name="T5" fmla="*/ 1851932 h 42"/>
              <a:gd name="T6" fmla="*/ 10685040 w 79"/>
              <a:gd name="T7" fmla="*/ 0 h 42"/>
              <a:gd name="T8" fmla="*/ 14068636 w 79"/>
              <a:gd name="T9" fmla="*/ 0 h 42"/>
              <a:gd name="T10" fmla="*/ 14068636 w 79"/>
              <a:gd name="T11" fmla="*/ 16663307 h 42"/>
              <a:gd name="T12" fmla="*/ 14068636 w 79"/>
              <a:gd name="T13" fmla="*/ 33327975 h 42"/>
              <a:gd name="T14" fmla="*/ 14068636 w 79"/>
              <a:gd name="T15" fmla="*/ 40734343 h 42"/>
              <a:gd name="T16" fmla="*/ 13356300 w 79"/>
              <a:gd name="T17" fmla="*/ 49991282 h 42"/>
              <a:gd name="T18" fmla="*/ 12822048 w 79"/>
              <a:gd name="T19" fmla="*/ 57397650 h 42"/>
              <a:gd name="T20" fmla="*/ 12109712 w 79"/>
              <a:gd name="T21" fmla="*/ 64804018 h 42"/>
              <a:gd name="T22" fmla="*/ 11041208 w 79"/>
              <a:gd name="T23" fmla="*/ 70358454 h 42"/>
              <a:gd name="T24" fmla="*/ 10150788 w 79"/>
              <a:gd name="T25" fmla="*/ 74062318 h 42"/>
              <a:gd name="T26" fmla="*/ 9082284 w 79"/>
              <a:gd name="T27" fmla="*/ 77764821 h 42"/>
              <a:gd name="T28" fmla="*/ 8191864 w 79"/>
              <a:gd name="T29" fmla="*/ 77764821 h 42"/>
              <a:gd name="T30" fmla="*/ 7123360 w 79"/>
              <a:gd name="T31" fmla="*/ 77764821 h 42"/>
              <a:gd name="T32" fmla="*/ 6232940 w 79"/>
              <a:gd name="T33" fmla="*/ 75912889 h 42"/>
              <a:gd name="T34" fmla="*/ 5164436 w 79"/>
              <a:gd name="T35" fmla="*/ 72210386 h 42"/>
              <a:gd name="T36" fmla="*/ 4452100 w 79"/>
              <a:gd name="T37" fmla="*/ 68506521 h 42"/>
              <a:gd name="T38" fmla="*/ 2849344 w 79"/>
              <a:gd name="T39" fmla="*/ 59249582 h 42"/>
              <a:gd name="T40" fmla="*/ 1958924 w 79"/>
              <a:gd name="T41" fmla="*/ 48140711 h 42"/>
              <a:gd name="T42" fmla="*/ 890420 w 79"/>
              <a:gd name="T43" fmla="*/ 37030479 h 42"/>
              <a:gd name="T44" fmla="*/ 356168 w 79"/>
              <a:gd name="T45" fmla="*/ 25921607 h 42"/>
              <a:gd name="T46" fmla="*/ 0 w 79"/>
              <a:gd name="T47" fmla="*/ 16663307 h 42"/>
              <a:gd name="T48" fmla="*/ 0 w 79"/>
              <a:gd name="T49" fmla="*/ 11108871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622507" y="3984469"/>
            <a:ext cx="52387" cy="58738"/>
          </a:xfrm>
          <a:custGeom>
            <a:avLst/>
            <a:gdLst>
              <a:gd name="T0" fmla="*/ 24286706 w 113"/>
              <a:gd name="T1" fmla="*/ 49762382 h 52"/>
              <a:gd name="T2" fmla="*/ 24071595 w 113"/>
              <a:gd name="T3" fmla="*/ 53589388 h 52"/>
              <a:gd name="T4" fmla="*/ 23427188 w 113"/>
              <a:gd name="T5" fmla="*/ 57417525 h 52"/>
              <a:gd name="T6" fmla="*/ 22782318 w 113"/>
              <a:gd name="T7" fmla="*/ 59969239 h 52"/>
              <a:gd name="T8" fmla="*/ 22137448 w 113"/>
              <a:gd name="T9" fmla="*/ 62520953 h 52"/>
              <a:gd name="T10" fmla="*/ 20203302 w 113"/>
              <a:gd name="T11" fmla="*/ 65072667 h 52"/>
              <a:gd name="T12" fmla="*/ 18268691 w 113"/>
              <a:gd name="T13" fmla="*/ 66349089 h 52"/>
              <a:gd name="T14" fmla="*/ 14185287 w 113"/>
              <a:gd name="T15" fmla="*/ 66349089 h 52"/>
              <a:gd name="T16" fmla="*/ 11391159 w 113"/>
              <a:gd name="T17" fmla="*/ 65072667 h 52"/>
              <a:gd name="T18" fmla="*/ 10101419 w 113"/>
              <a:gd name="T19" fmla="*/ 65072667 h 52"/>
              <a:gd name="T20" fmla="*/ 8381920 w 113"/>
              <a:gd name="T21" fmla="*/ 61245661 h 52"/>
              <a:gd name="T22" fmla="*/ 6447773 w 113"/>
              <a:gd name="T23" fmla="*/ 57417525 h 52"/>
              <a:gd name="T24" fmla="*/ 4513627 w 113"/>
              <a:gd name="T25" fmla="*/ 52314096 h 52"/>
              <a:gd name="T26" fmla="*/ 2794128 w 113"/>
              <a:gd name="T27" fmla="*/ 45934246 h 52"/>
              <a:gd name="T28" fmla="*/ 1289740 w 113"/>
              <a:gd name="T29" fmla="*/ 39554395 h 52"/>
              <a:gd name="T30" fmla="*/ 859518 w 113"/>
              <a:gd name="T31" fmla="*/ 35726259 h 52"/>
              <a:gd name="T32" fmla="*/ 429759 w 113"/>
              <a:gd name="T33" fmla="*/ 31898123 h 52"/>
              <a:gd name="T34" fmla="*/ 215111 w 113"/>
              <a:gd name="T35" fmla="*/ 28071116 h 52"/>
              <a:gd name="T36" fmla="*/ 0 w 113"/>
              <a:gd name="T37" fmla="*/ 25519402 h 52"/>
              <a:gd name="T38" fmla="*/ 215111 w 113"/>
              <a:gd name="T39" fmla="*/ 19139551 h 52"/>
              <a:gd name="T40" fmla="*/ 215111 w 113"/>
              <a:gd name="T41" fmla="*/ 14034993 h 52"/>
              <a:gd name="T42" fmla="*/ 644870 w 113"/>
              <a:gd name="T43" fmla="*/ 10207987 h 52"/>
              <a:gd name="T44" fmla="*/ 1074629 w 113"/>
              <a:gd name="T45" fmla="*/ 6379850 h 52"/>
              <a:gd name="T46" fmla="*/ 1504388 w 113"/>
              <a:gd name="T47" fmla="*/ 3828136 h 52"/>
              <a:gd name="T48" fmla="*/ 2149258 w 113"/>
              <a:gd name="T49" fmla="*/ 2551714 h 52"/>
              <a:gd name="T50" fmla="*/ 3008775 w 113"/>
              <a:gd name="T51" fmla="*/ 1276422 h 52"/>
              <a:gd name="T52" fmla="*/ 3653646 w 113"/>
              <a:gd name="T53" fmla="*/ 0 h 52"/>
              <a:gd name="T54" fmla="*/ 5588256 w 113"/>
              <a:gd name="T55" fmla="*/ 0 h 52"/>
              <a:gd name="T56" fmla="*/ 7737514 w 113"/>
              <a:gd name="T57" fmla="*/ 2551714 h 52"/>
              <a:gd name="T58" fmla="*/ 9886771 w 113"/>
              <a:gd name="T59" fmla="*/ 6379850 h 52"/>
              <a:gd name="T60" fmla="*/ 12250677 w 113"/>
              <a:gd name="T61" fmla="*/ 11483279 h 52"/>
              <a:gd name="T62" fmla="*/ 16549192 w 113"/>
              <a:gd name="T63" fmla="*/ 22966558 h 52"/>
              <a:gd name="T64" fmla="*/ 20417949 w 113"/>
              <a:gd name="T65" fmla="*/ 37002681 h 52"/>
              <a:gd name="T66" fmla="*/ 23212077 w 113"/>
              <a:gd name="T67" fmla="*/ 45934246 h 52"/>
              <a:gd name="T68" fmla="*/ 24286706 w 113"/>
              <a:gd name="T69" fmla="*/ 49762382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393907" y="3957482"/>
            <a:ext cx="61912" cy="58737"/>
          </a:xfrm>
          <a:custGeom>
            <a:avLst/>
            <a:gdLst>
              <a:gd name="T0" fmla="*/ 0 w 139"/>
              <a:gd name="T1" fmla="*/ 17249588 h 40"/>
              <a:gd name="T2" fmla="*/ 1586996 w 139"/>
              <a:gd name="T3" fmla="*/ 19406705 h 40"/>
              <a:gd name="T4" fmla="*/ 3769505 w 139"/>
              <a:gd name="T5" fmla="*/ 17249588 h 40"/>
              <a:gd name="T6" fmla="*/ 5951569 w 139"/>
              <a:gd name="T7" fmla="*/ 15093941 h 40"/>
              <a:gd name="T8" fmla="*/ 8332286 w 139"/>
              <a:gd name="T9" fmla="*/ 10781176 h 40"/>
              <a:gd name="T10" fmla="*/ 10514796 w 139"/>
              <a:gd name="T11" fmla="*/ 4312764 h 40"/>
              <a:gd name="T12" fmla="*/ 12696860 w 139"/>
              <a:gd name="T13" fmla="*/ 2155648 h 40"/>
              <a:gd name="T14" fmla="*/ 14482508 w 139"/>
              <a:gd name="T15" fmla="*/ 0 h 40"/>
              <a:gd name="T16" fmla="*/ 15871297 w 139"/>
              <a:gd name="T17" fmla="*/ 4312764 h 40"/>
              <a:gd name="T18" fmla="*/ 27576228 w 139"/>
              <a:gd name="T19" fmla="*/ 84095231 h 40"/>
              <a:gd name="T20" fmla="*/ 26386093 w 139"/>
              <a:gd name="T21" fmla="*/ 86250879 h 40"/>
              <a:gd name="T22" fmla="*/ 24798651 w 139"/>
              <a:gd name="T23" fmla="*/ 84095231 h 40"/>
              <a:gd name="T24" fmla="*/ 23013448 w 139"/>
              <a:gd name="T25" fmla="*/ 81938115 h 40"/>
              <a:gd name="T26" fmla="*/ 21029146 w 139"/>
              <a:gd name="T27" fmla="*/ 77625351 h 40"/>
              <a:gd name="T28" fmla="*/ 17061433 w 139"/>
              <a:gd name="T29" fmla="*/ 64688527 h 40"/>
              <a:gd name="T30" fmla="*/ 12696860 w 139"/>
              <a:gd name="T31" fmla="*/ 51750234 h 40"/>
              <a:gd name="T32" fmla="*/ 8729147 w 139"/>
              <a:gd name="T33" fmla="*/ 34500645 h 40"/>
              <a:gd name="T34" fmla="*/ 5158294 w 139"/>
              <a:gd name="T35" fmla="*/ 23719469 h 40"/>
              <a:gd name="T36" fmla="*/ 3372645 w 139"/>
              <a:gd name="T37" fmla="*/ 19406705 h 40"/>
              <a:gd name="T38" fmla="*/ 2182509 w 139"/>
              <a:gd name="T39" fmla="*/ 15093941 h 40"/>
              <a:gd name="T40" fmla="*/ 793721 w 139"/>
              <a:gd name="T41" fmla="*/ 15093941 h 40"/>
              <a:gd name="T42" fmla="*/ 0 w 139"/>
              <a:gd name="T43" fmla="*/ 17249588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693944" y="3898744"/>
            <a:ext cx="139700" cy="57150"/>
          </a:xfrm>
          <a:custGeom>
            <a:avLst/>
            <a:gdLst>
              <a:gd name="T0" fmla="*/ 1847479 w 325"/>
              <a:gd name="T1" fmla="*/ 4535778 h 71"/>
              <a:gd name="T2" fmla="*/ 5727700 w 325"/>
              <a:gd name="T3" fmla="*/ 647968 h 71"/>
              <a:gd name="T4" fmla="*/ 9792755 w 325"/>
              <a:gd name="T5" fmla="*/ 0 h 71"/>
              <a:gd name="T6" fmla="*/ 13488142 w 325"/>
              <a:gd name="T7" fmla="*/ 2591873 h 71"/>
              <a:gd name="T8" fmla="*/ 16998696 w 325"/>
              <a:gd name="T9" fmla="*/ 6478878 h 71"/>
              <a:gd name="T10" fmla="*/ 20324416 w 325"/>
              <a:gd name="T11" fmla="*/ 11662625 h 71"/>
              <a:gd name="T12" fmla="*/ 22541562 w 325"/>
              <a:gd name="T13" fmla="*/ 18789471 h 71"/>
              <a:gd name="T14" fmla="*/ 24019803 w 325"/>
              <a:gd name="T15" fmla="*/ 24620381 h 71"/>
              <a:gd name="T16" fmla="*/ 25128376 w 325"/>
              <a:gd name="T17" fmla="*/ 22029313 h 71"/>
              <a:gd name="T18" fmla="*/ 25682878 w 325"/>
              <a:gd name="T19" fmla="*/ 9718720 h 71"/>
              <a:gd name="T20" fmla="*/ 29747503 w 325"/>
              <a:gd name="T21" fmla="*/ 4535778 h 71"/>
              <a:gd name="T22" fmla="*/ 39909926 w 325"/>
              <a:gd name="T23" fmla="*/ 8422783 h 71"/>
              <a:gd name="T24" fmla="*/ 47669938 w 325"/>
              <a:gd name="T25" fmla="*/ 14901661 h 71"/>
              <a:gd name="T26" fmla="*/ 52289065 w 325"/>
              <a:gd name="T27" fmla="*/ 20733376 h 71"/>
              <a:gd name="T28" fmla="*/ 56354120 w 325"/>
              <a:gd name="T29" fmla="*/ 27860223 h 71"/>
              <a:gd name="T30" fmla="*/ 59125768 w 325"/>
              <a:gd name="T31" fmla="*/ 35635037 h 71"/>
              <a:gd name="T32" fmla="*/ 58386433 w 325"/>
              <a:gd name="T33" fmla="*/ 41465947 h 71"/>
              <a:gd name="T34" fmla="*/ 54321808 w 325"/>
              <a:gd name="T35" fmla="*/ 44057820 h 71"/>
              <a:gd name="T36" fmla="*/ 47854772 w 325"/>
              <a:gd name="T37" fmla="*/ 46001725 h 71"/>
              <a:gd name="T38" fmla="*/ 38801353 w 325"/>
              <a:gd name="T39" fmla="*/ 45353757 h 71"/>
              <a:gd name="T40" fmla="*/ 30856076 w 325"/>
              <a:gd name="T41" fmla="*/ 44057820 h 71"/>
              <a:gd name="T42" fmla="*/ 24574305 w 325"/>
              <a:gd name="T43" fmla="*/ 44705789 h 71"/>
              <a:gd name="T44" fmla="*/ 16629028 w 325"/>
              <a:gd name="T45" fmla="*/ 46001725 h 71"/>
              <a:gd name="T46" fmla="*/ 13303309 w 325"/>
              <a:gd name="T47" fmla="*/ 44057820 h 71"/>
              <a:gd name="T48" fmla="*/ 12379569 w 325"/>
              <a:gd name="T49" fmla="*/ 41465947 h 71"/>
              <a:gd name="T50" fmla="*/ 10716494 w 325"/>
              <a:gd name="T51" fmla="*/ 39522847 h 71"/>
              <a:gd name="T52" fmla="*/ 8499348 w 325"/>
              <a:gd name="T53" fmla="*/ 38226911 h 71"/>
              <a:gd name="T54" fmla="*/ 6467035 w 325"/>
              <a:gd name="T55" fmla="*/ 34339101 h 71"/>
              <a:gd name="T56" fmla="*/ 4619127 w 325"/>
              <a:gd name="T57" fmla="*/ 29156159 h 71"/>
              <a:gd name="T58" fmla="*/ 2956482 w 325"/>
              <a:gd name="T59" fmla="*/ 25268349 h 71"/>
              <a:gd name="T60" fmla="*/ 1108573 w 325"/>
              <a:gd name="T61" fmla="*/ 23972413 h 71"/>
              <a:gd name="T62" fmla="*/ 0 w 325"/>
              <a:gd name="T63" fmla="*/ 14253693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854282" y="3906682"/>
            <a:ext cx="95250" cy="57150"/>
          </a:xfrm>
          <a:custGeom>
            <a:avLst/>
            <a:gdLst>
              <a:gd name="T0" fmla="*/ 16308099 w 220"/>
              <a:gd name="T1" fmla="*/ 15751175 h 72"/>
              <a:gd name="T2" fmla="*/ 17245445 w 220"/>
              <a:gd name="T3" fmla="*/ 16381413 h 72"/>
              <a:gd name="T4" fmla="*/ 18370261 w 220"/>
              <a:gd name="T5" fmla="*/ 17010856 h 72"/>
              <a:gd name="T6" fmla="*/ 18932236 w 220"/>
              <a:gd name="T7" fmla="*/ 17641094 h 72"/>
              <a:gd name="T8" fmla="*/ 19494644 w 220"/>
              <a:gd name="T9" fmla="*/ 17010856 h 72"/>
              <a:gd name="T10" fmla="*/ 20431991 w 220"/>
              <a:gd name="T11" fmla="*/ 17010856 h 72"/>
              <a:gd name="T12" fmla="*/ 21181868 w 220"/>
              <a:gd name="T13" fmla="*/ 15751175 h 72"/>
              <a:gd name="T14" fmla="*/ 21369338 w 220"/>
              <a:gd name="T15" fmla="*/ 16381413 h 72"/>
              <a:gd name="T16" fmla="*/ 21556807 w 220"/>
              <a:gd name="T17" fmla="*/ 16381413 h 72"/>
              <a:gd name="T18" fmla="*/ 21744276 w 220"/>
              <a:gd name="T19" fmla="*/ 15751175 h 72"/>
              <a:gd name="T20" fmla="*/ 21931745 w 220"/>
              <a:gd name="T21" fmla="*/ 15751175 h 72"/>
              <a:gd name="T22" fmla="*/ 22306684 w 220"/>
              <a:gd name="T23" fmla="*/ 13861256 h 72"/>
              <a:gd name="T24" fmla="*/ 22494153 w 220"/>
              <a:gd name="T25" fmla="*/ 10710863 h 72"/>
              <a:gd name="T26" fmla="*/ 22494153 w 220"/>
              <a:gd name="T27" fmla="*/ 4410075 h 72"/>
              <a:gd name="T28" fmla="*/ 22494153 w 220"/>
              <a:gd name="T29" fmla="*/ 0 h 72"/>
              <a:gd name="T30" fmla="*/ 23431067 w 220"/>
              <a:gd name="T31" fmla="*/ 3150394 h 72"/>
              <a:gd name="T32" fmla="*/ 24555883 w 220"/>
              <a:gd name="T33" fmla="*/ 6300788 h 72"/>
              <a:gd name="T34" fmla="*/ 25680699 w 220"/>
              <a:gd name="T35" fmla="*/ 9450388 h 72"/>
              <a:gd name="T36" fmla="*/ 26805515 w 220"/>
              <a:gd name="T37" fmla="*/ 11970544 h 72"/>
              <a:gd name="T38" fmla="*/ 29242183 w 220"/>
              <a:gd name="T39" fmla="*/ 15751175 h 72"/>
              <a:gd name="T40" fmla="*/ 31866320 w 220"/>
              <a:gd name="T41" fmla="*/ 18901569 h 72"/>
              <a:gd name="T42" fmla="*/ 34303422 w 220"/>
              <a:gd name="T43" fmla="*/ 22051169 h 72"/>
              <a:gd name="T44" fmla="*/ 36740090 w 220"/>
              <a:gd name="T45" fmla="*/ 25831800 h 72"/>
              <a:gd name="T46" fmla="*/ 38052375 w 220"/>
              <a:gd name="T47" fmla="*/ 27721719 h 72"/>
              <a:gd name="T48" fmla="*/ 39177191 w 220"/>
              <a:gd name="T49" fmla="*/ 29611638 h 72"/>
              <a:gd name="T50" fmla="*/ 40114105 w 220"/>
              <a:gd name="T51" fmla="*/ 32131794 h 72"/>
              <a:gd name="T52" fmla="*/ 41238920 w 220"/>
              <a:gd name="T53" fmla="*/ 34651950 h 72"/>
              <a:gd name="T54" fmla="*/ 38614783 w 220"/>
              <a:gd name="T55" fmla="*/ 35282188 h 72"/>
              <a:gd name="T56" fmla="*/ 36365151 w 220"/>
              <a:gd name="T57" fmla="*/ 35912425 h 72"/>
              <a:gd name="T58" fmla="*/ 34115952 w 220"/>
              <a:gd name="T59" fmla="*/ 36542663 h 72"/>
              <a:gd name="T60" fmla="*/ 32053790 w 220"/>
              <a:gd name="T61" fmla="*/ 37802344 h 72"/>
              <a:gd name="T62" fmla="*/ 28304836 w 220"/>
              <a:gd name="T63" fmla="*/ 40952738 h 72"/>
              <a:gd name="T64" fmla="*/ 25118291 w 220"/>
              <a:gd name="T65" fmla="*/ 44103131 h 72"/>
              <a:gd name="T66" fmla="*/ 23618536 w 220"/>
              <a:gd name="T67" fmla="*/ 44732575 h 72"/>
              <a:gd name="T68" fmla="*/ 21931745 w 220"/>
              <a:gd name="T69" fmla="*/ 45362813 h 72"/>
              <a:gd name="T70" fmla="*/ 20619460 w 220"/>
              <a:gd name="T71" fmla="*/ 45362813 h 72"/>
              <a:gd name="T72" fmla="*/ 19307175 w 220"/>
              <a:gd name="T73" fmla="*/ 45362813 h 72"/>
              <a:gd name="T74" fmla="*/ 17807853 w 220"/>
              <a:gd name="T75" fmla="*/ 44103131 h 72"/>
              <a:gd name="T76" fmla="*/ 16495568 w 220"/>
              <a:gd name="T77" fmla="*/ 41582975 h 72"/>
              <a:gd name="T78" fmla="*/ 15183283 w 220"/>
              <a:gd name="T79" fmla="*/ 38432581 h 72"/>
              <a:gd name="T80" fmla="*/ 13871431 w 220"/>
              <a:gd name="T81" fmla="*/ 34651950 h 72"/>
              <a:gd name="T82" fmla="*/ 11059391 w 220"/>
              <a:gd name="T83" fmla="*/ 33392269 h 72"/>
              <a:gd name="T84" fmla="*/ 8435253 w 220"/>
              <a:gd name="T85" fmla="*/ 31502350 h 72"/>
              <a:gd name="T86" fmla="*/ 6186055 w 220"/>
              <a:gd name="T87" fmla="*/ 29611638 h 72"/>
              <a:gd name="T88" fmla="*/ 4123892 w 220"/>
              <a:gd name="T89" fmla="*/ 27091481 h 72"/>
              <a:gd name="T90" fmla="*/ 3374015 w 220"/>
              <a:gd name="T91" fmla="*/ 25831800 h 72"/>
              <a:gd name="T92" fmla="*/ 2436668 w 220"/>
              <a:gd name="T93" fmla="*/ 23941881 h 72"/>
              <a:gd name="T94" fmla="*/ 1687224 w 220"/>
              <a:gd name="T95" fmla="*/ 22051169 h 72"/>
              <a:gd name="T96" fmla="*/ 1312285 w 220"/>
              <a:gd name="T97" fmla="*/ 19531013 h 72"/>
              <a:gd name="T98" fmla="*/ 562408 w 220"/>
              <a:gd name="T99" fmla="*/ 17010856 h 72"/>
              <a:gd name="T100" fmla="*/ 374939 w 220"/>
              <a:gd name="T101" fmla="*/ 14490700 h 72"/>
              <a:gd name="T102" fmla="*/ 187469 w 220"/>
              <a:gd name="T103" fmla="*/ 11341100 h 72"/>
              <a:gd name="T104" fmla="*/ 0 w 220"/>
              <a:gd name="T105" fmla="*/ 8190706 h 72"/>
              <a:gd name="T106" fmla="*/ 4311361 w 220"/>
              <a:gd name="T107" fmla="*/ 10710863 h 72"/>
              <a:gd name="T108" fmla="*/ 8247784 w 220"/>
              <a:gd name="T109" fmla="*/ 13231019 h 72"/>
              <a:gd name="T110" fmla="*/ 11996738 w 220"/>
              <a:gd name="T111" fmla="*/ 15120938 h 72"/>
              <a:gd name="T112" fmla="*/ 16308099 w 220"/>
              <a:gd name="T113" fmla="*/ 15751175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814594" y="3954307"/>
            <a:ext cx="63500" cy="58737"/>
          </a:xfrm>
          <a:custGeom>
            <a:avLst/>
            <a:gdLst>
              <a:gd name="T0" fmla="*/ 27618151 w 146"/>
              <a:gd name="T1" fmla="*/ 95835289 h 30"/>
              <a:gd name="T2" fmla="*/ 26482979 w 146"/>
              <a:gd name="T3" fmla="*/ 61333175 h 30"/>
              <a:gd name="T4" fmla="*/ 25915829 w 146"/>
              <a:gd name="T5" fmla="*/ 34500156 h 30"/>
              <a:gd name="T6" fmla="*/ 25159048 w 146"/>
              <a:gd name="T7" fmla="*/ 15334273 h 30"/>
              <a:gd name="T8" fmla="*/ 24213072 w 146"/>
              <a:gd name="T9" fmla="*/ 3833568 h 30"/>
              <a:gd name="T10" fmla="*/ 23834682 w 146"/>
              <a:gd name="T11" fmla="*/ 3833568 h 30"/>
              <a:gd name="T12" fmla="*/ 23456726 w 146"/>
              <a:gd name="T13" fmla="*/ 3833568 h 30"/>
              <a:gd name="T14" fmla="*/ 22699945 w 146"/>
              <a:gd name="T15" fmla="*/ 7667136 h 30"/>
              <a:gd name="T16" fmla="*/ 22321555 w 146"/>
              <a:gd name="T17" fmla="*/ 11500705 h 30"/>
              <a:gd name="T18" fmla="*/ 21375579 w 146"/>
              <a:gd name="T19" fmla="*/ 34500156 h 30"/>
              <a:gd name="T20" fmla="*/ 19862452 w 146"/>
              <a:gd name="T21" fmla="*/ 72833880 h 30"/>
              <a:gd name="T22" fmla="*/ 13619880 w 146"/>
              <a:gd name="T23" fmla="*/ 72833880 h 30"/>
              <a:gd name="T24" fmla="*/ 11917558 w 146"/>
              <a:gd name="T25" fmla="*/ 69000312 h 30"/>
              <a:gd name="T26" fmla="*/ 10403997 w 146"/>
              <a:gd name="T27" fmla="*/ 65166744 h 30"/>
              <a:gd name="T28" fmla="*/ 8890870 w 146"/>
              <a:gd name="T29" fmla="*/ 53667997 h 30"/>
              <a:gd name="T30" fmla="*/ 7566503 w 146"/>
              <a:gd name="T31" fmla="*/ 46000861 h 30"/>
              <a:gd name="T32" fmla="*/ 5485791 w 146"/>
              <a:gd name="T33" fmla="*/ 22999451 h 30"/>
              <a:gd name="T34" fmla="*/ 3594274 w 146"/>
              <a:gd name="T35" fmla="*/ 0 h 30"/>
              <a:gd name="T36" fmla="*/ 2648298 w 146"/>
              <a:gd name="T37" fmla="*/ 34500156 h 30"/>
              <a:gd name="T38" fmla="*/ 1891517 w 146"/>
              <a:gd name="T39" fmla="*/ 57501565 h 30"/>
              <a:gd name="T40" fmla="*/ 756781 w 146"/>
              <a:gd name="T41" fmla="*/ 76667448 h 30"/>
              <a:gd name="T42" fmla="*/ 0 w 146"/>
              <a:gd name="T43" fmla="*/ 95835289 h 30"/>
              <a:gd name="T44" fmla="*/ 6242572 w 146"/>
              <a:gd name="T45" fmla="*/ 95835289 h 30"/>
              <a:gd name="T46" fmla="*/ 10782387 w 146"/>
              <a:gd name="T47" fmla="*/ 95835289 h 30"/>
              <a:gd name="T48" fmla="*/ 14565856 w 146"/>
              <a:gd name="T49" fmla="*/ 95835289 h 30"/>
              <a:gd name="T50" fmla="*/ 18727281 w 146"/>
              <a:gd name="T51" fmla="*/ 95835289 h 30"/>
              <a:gd name="T52" fmla="*/ 20807993 w 146"/>
              <a:gd name="T53" fmla="*/ 99666900 h 30"/>
              <a:gd name="T54" fmla="*/ 23267531 w 146"/>
              <a:gd name="T55" fmla="*/ 111167604 h 30"/>
              <a:gd name="T56" fmla="*/ 24213072 w 146"/>
              <a:gd name="T57" fmla="*/ 115001172 h 30"/>
              <a:gd name="T58" fmla="*/ 25537438 w 146"/>
              <a:gd name="T59" fmla="*/ 115001172 h 30"/>
              <a:gd name="T60" fmla="*/ 26482979 w 146"/>
              <a:gd name="T61" fmla="*/ 107334036 h 30"/>
              <a:gd name="T62" fmla="*/ 27618151 w 146"/>
              <a:gd name="T63" fmla="*/ 95835289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793957" y="3951132"/>
            <a:ext cx="20637" cy="58737"/>
          </a:xfrm>
          <a:custGeom>
            <a:avLst/>
            <a:gdLst>
              <a:gd name="T0" fmla="*/ 0 w 53"/>
              <a:gd name="T1" fmla="*/ 383337241 h 9"/>
              <a:gd name="T2" fmla="*/ 2577289 w 53"/>
              <a:gd name="T3" fmla="*/ 383337241 h 9"/>
              <a:gd name="T4" fmla="*/ 4396849 w 53"/>
              <a:gd name="T5" fmla="*/ 383337241 h 9"/>
              <a:gd name="T6" fmla="*/ 6064552 w 53"/>
              <a:gd name="T7" fmla="*/ 383337241 h 9"/>
              <a:gd name="T8" fmla="*/ 8035581 w 53"/>
              <a:gd name="T9" fmla="*/ 383337241 h 9"/>
              <a:gd name="T10" fmla="*/ 6974138 w 53"/>
              <a:gd name="T11" fmla="*/ 255558161 h 9"/>
              <a:gd name="T12" fmla="*/ 5761227 w 53"/>
              <a:gd name="T13" fmla="*/ 127779080 h 9"/>
              <a:gd name="T14" fmla="*/ 4700174 w 53"/>
              <a:gd name="T15" fmla="*/ 42590851 h 9"/>
              <a:gd name="T16" fmla="*/ 3790199 w 53"/>
              <a:gd name="T17" fmla="*/ 0 h 9"/>
              <a:gd name="T18" fmla="*/ 2880614 w 53"/>
              <a:gd name="T19" fmla="*/ 0 h 9"/>
              <a:gd name="T20" fmla="*/ 2122496 w 53"/>
              <a:gd name="T21" fmla="*/ 0 h 9"/>
              <a:gd name="T22" fmla="*/ 1364378 w 53"/>
              <a:gd name="T23" fmla="*/ 42590851 h 9"/>
              <a:gd name="T24" fmla="*/ 909586 w 53"/>
              <a:gd name="T25" fmla="*/ 12777908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795544" y="3949544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965282" y="3878107"/>
            <a:ext cx="11112" cy="55562"/>
          </a:xfrm>
          <a:custGeom>
            <a:avLst/>
            <a:gdLst>
              <a:gd name="T0" fmla="*/ 0 w 26"/>
              <a:gd name="T1" fmla="*/ 123485434 h 25"/>
              <a:gd name="T2" fmla="*/ 913321 w 26"/>
              <a:gd name="T3" fmla="*/ 83969739 h 25"/>
              <a:gd name="T4" fmla="*/ 2374549 w 26"/>
              <a:gd name="T5" fmla="*/ 39515694 h 25"/>
              <a:gd name="T6" fmla="*/ 2922456 w 26"/>
              <a:gd name="T7" fmla="*/ 24696198 h 25"/>
              <a:gd name="T8" fmla="*/ 3653284 w 26"/>
              <a:gd name="T9" fmla="*/ 9878924 h 25"/>
              <a:gd name="T10" fmla="*/ 4201191 w 26"/>
              <a:gd name="T11" fmla="*/ 4938351 h 25"/>
              <a:gd name="T12" fmla="*/ 4749098 w 26"/>
              <a:gd name="T13" fmla="*/ 0 h 25"/>
              <a:gd name="T14" fmla="*/ 4749098 w 26"/>
              <a:gd name="T15" fmla="*/ 123485434 h 25"/>
              <a:gd name="T16" fmla="*/ 3653284 w 26"/>
              <a:gd name="T17" fmla="*/ 123485434 h 25"/>
              <a:gd name="T18" fmla="*/ 2374549 w 26"/>
              <a:gd name="T19" fmla="*/ 123485434 h 25"/>
              <a:gd name="T20" fmla="*/ 0 w 26"/>
              <a:gd name="T21" fmla="*/ 123485434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714582" y="3949544"/>
            <a:ext cx="9525" cy="57150"/>
          </a:xfrm>
          <a:custGeom>
            <a:avLst/>
            <a:gdLst>
              <a:gd name="T0" fmla="*/ 2749261 w 33"/>
              <a:gd name="T1" fmla="*/ 130644900 h 25"/>
              <a:gd name="T2" fmla="*/ 2749261 w 33"/>
              <a:gd name="T3" fmla="*/ 62709552 h 25"/>
              <a:gd name="T4" fmla="*/ 2749261 w 33"/>
              <a:gd name="T5" fmla="*/ 0 h 25"/>
              <a:gd name="T6" fmla="*/ 0 w 33"/>
              <a:gd name="T7" fmla="*/ 0 h 25"/>
              <a:gd name="T8" fmla="*/ 749877 w 33"/>
              <a:gd name="T9" fmla="*/ 47032164 h 25"/>
              <a:gd name="T10" fmla="*/ 1332923 w 33"/>
              <a:gd name="T11" fmla="*/ 88838532 h 25"/>
              <a:gd name="T12" fmla="*/ 1666298 w 33"/>
              <a:gd name="T13" fmla="*/ 104515920 h 25"/>
              <a:gd name="T14" fmla="*/ 1999384 w 33"/>
              <a:gd name="T15" fmla="*/ 120193308 h 25"/>
              <a:gd name="T16" fmla="*/ 2332759 w 33"/>
              <a:gd name="T17" fmla="*/ 125419104 h 25"/>
              <a:gd name="T18" fmla="*/ 2749261 w 33"/>
              <a:gd name="T19" fmla="*/ 13064490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668544" y="3913032"/>
            <a:ext cx="9525" cy="57150"/>
          </a:xfrm>
          <a:custGeom>
            <a:avLst/>
            <a:gdLst>
              <a:gd name="T0" fmla="*/ 0 w 20"/>
              <a:gd name="T1" fmla="*/ 0 h 18"/>
              <a:gd name="T2" fmla="*/ 2948464 w 20"/>
              <a:gd name="T3" fmla="*/ 181451250 h 18"/>
              <a:gd name="T4" fmla="*/ 3629025 w 20"/>
              <a:gd name="T5" fmla="*/ 110886875 h 18"/>
              <a:gd name="T6" fmla="*/ 4536281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168607" y="4482944"/>
            <a:ext cx="12700" cy="58738"/>
          </a:xfrm>
          <a:custGeom>
            <a:avLst/>
            <a:gdLst>
              <a:gd name="T0" fmla="*/ 0 w 33"/>
              <a:gd name="T1" fmla="*/ 111295247 h 31"/>
              <a:gd name="T2" fmla="*/ 0 w 33"/>
              <a:gd name="T3" fmla="*/ 0 h 31"/>
              <a:gd name="T4" fmla="*/ 1333115 w 33"/>
              <a:gd name="T5" fmla="*/ 0 h 31"/>
              <a:gd name="T6" fmla="*/ 2369897 w 33"/>
              <a:gd name="T7" fmla="*/ 0 h 31"/>
              <a:gd name="T8" fmla="*/ 3554461 w 33"/>
              <a:gd name="T9" fmla="*/ 0 h 31"/>
              <a:gd name="T10" fmla="*/ 4887576 w 33"/>
              <a:gd name="T11" fmla="*/ 0 h 31"/>
              <a:gd name="T12" fmla="*/ 4443076 w 33"/>
              <a:gd name="T13" fmla="*/ 7181194 h 31"/>
              <a:gd name="T14" fmla="*/ 4295294 w 33"/>
              <a:gd name="T15" fmla="*/ 17951091 h 31"/>
              <a:gd name="T16" fmla="*/ 4147127 w 33"/>
              <a:gd name="T17" fmla="*/ 32311584 h 31"/>
              <a:gd name="T18" fmla="*/ 4147127 w 33"/>
              <a:gd name="T19" fmla="*/ 46672078 h 31"/>
              <a:gd name="T20" fmla="*/ 4147127 w 33"/>
              <a:gd name="T21" fmla="*/ 61032572 h 31"/>
              <a:gd name="T22" fmla="*/ 4295294 w 33"/>
              <a:gd name="T23" fmla="*/ 75393065 h 31"/>
              <a:gd name="T24" fmla="*/ 4443076 w 33"/>
              <a:gd name="T25" fmla="*/ 93344156 h 31"/>
              <a:gd name="T26" fmla="*/ 4887576 w 33"/>
              <a:gd name="T27" fmla="*/ 111295247 h 31"/>
              <a:gd name="T28" fmla="*/ 0 w 33"/>
              <a:gd name="T29" fmla="*/ 1112952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462294" y="4005107"/>
            <a:ext cx="55563" cy="58737"/>
          </a:xfrm>
          <a:custGeom>
            <a:avLst/>
            <a:gdLst>
              <a:gd name="T0" fmla="*/ 556491 w 129"/>
              <a:gd name="T1" fmla="*/ 48406630 h 56"/>
              <a:gd name="T2" fmla="*/ 185641 w 129"/>
              <a:gd name="T3" fmla="*/ 46206090 h 56"/>
              <a:gd name="T4" fmla="*/ 185641 w 129"/>
              <a:gd name="T5" fmla="*/ 44005551 h 56"/>
              <a:gd name="T6" fmla="*/ 0 w 129"/>
              <a:gd name="T7" fmla="*/ 40704741 h 56"/>
              <a:gd name="T8" fmla="*/ 185641 w 129"/>
              <a:gd name="T9" fmla="*/ 36304710 h 56"/>
              <a:gd name="T10" fmla="*/ 370851 w 129"/>
              <a:gd name="T11" fmla="*/ 27503600 h 56"/>
              <a:gd name="T12" fmla="*/ 556491 w 129"/>
              <a:gd name="T13" fmla="*/ 19802760 h 56"/>
              <a:gd name="T14" fmla="*/ 1669474 w 129"/>
              <a:gd name="T15" fmla="*/ 14301411 h 56"/>
              <a:gd name="T16" fmla="*/ 2968529 w 129"/>
              <a:gd name="T17" fmla="*/ 9901380 h 56"/>
              <a:gd name="T18" fmla="*/ 3895871 w 129"/>
              <a:gd name="T19" fmla="*/ 6600570 h 56"/>
              <a:gd name="T20" fmla="*/ 5008854 w 129"/>
              <a:gd name="T21" fmla="*/ 5500301 h 56"/>
              <a:gd name="T22" fmla="*/ 7235250 w 129"/>
              <a:gd name="T23" fmla="*/ 3300810 h 56"/>
              <a:gd name="T24" fmla="*/ 10574630 w 129"/>
              <a:gd name="T25" fmla="*/ 0 h 56"/>
              <a:gd name="T26" fmla="*/ 11131121 w 129"/>
              <a:gd name="T27" fmla="*/ 5500301 h 56"/>
              <a:gd name="T28" fmla="*/ 11873253 w 129"/>
              <a:gd name="T29" fmla="*/ 8801110 h 56"/>
              <a:gd name="T30" fmla="*/ 12801026 w 129"/>
              <a:gd name="T31" fmla="*/ 12101920 h 56"/>
              <a:gd name="T32" fmla="*/ 13543158 w 129"/>
              <a:gd name="T33" fmla="*/ 15401681 h 56"/>
              <a:gd name="T34" fmla="*/ 15398273 w 129"/>
              <a:gd name="T35" fmla="*/ 19802760 h 56"/>
              <a:gd name="T36" fmla="*/ 17253388 w 129"/>
              <a:gd name="T37" fmla="*/ 23102521 h 56"/>
              <a:gd name="T38" fmla="*/ 19108503 w 129"/>
              <a:gd name="T39" fmla="*/ 27503600 h 56"/>
              <a:gd name="T40" fmla="*/ 20963618 w 129"/>
              <a:gd name="T41" fmla="*/ 31903631 h 56"/>
              <a:gd name="T42" fmla="*/ 21705751 w 129"/>
              <a:gd name="T43" fmla="*/ 35204441 h 56"/>
              <a:gd name="T44" fmla="*/ 22447883 w 129"/>
              <a:gd name="T45" fmla="*/ 38505250 h 56"/>
              <a:gd name="T46" fmla="*/ 23375656 w 129"/>
              <a:gd name="T47" fmla="*/ 41805011 h 56"/>
              <a:gd name="T48" fmla="*/ 23932147 w 129"/>
              <a:gd name="T49" fmla="*/ 48406630 h 56"/>
              <a:gd name="T50" fmla="*/ 22077032 w 129"/>
              <a:gd name="T51" fmla="*/ 52806661 h 56"/>
              <a:gd name="T52" fmla="*/ 20221917 w 129"/>
              <a:gd name="T53" fmla="*/ 56107470 h 56"/>
              <a:gd name="T54" fmla="*/ 18366371 w 129"/>
              <a:gd name="T55" fmla="*/ 58306961 h 56"/>
              <a:gd name="T56" fmla="*/ 16696897 w 129"/>
              <a:gd name="T57" fmla="*/ 59407231 h 56"/>
              <a:gd name="T58" fmla="*/ 12986236 w 129"/>
              <a:gd name="T59" fmla="*/ 61607771 h 56"/>
              <a:gd name="T60" fmla="*/ 9090365 w 129"/>
              <a:gd name="T61" fmla="*/ 61607771 h 56"/>
              <a:gd name="T62" fmla="*/ 7420891 w 129"/>
              <a:gd name="T63" fmla="*/ 60507501 h 56"/>
              <a:gd name="T64" fmla="*/ 5750986 w 129"/>
              <a:gd name="T65" fmla="*/ 59407231 h 56"/>
              <a:gd name="T66" fmla="*/ 4267152 w 129"/>
              <a:gd name="T67" fmla="*/ 57207740 h 56"/>
              <a:gd name="T68" fmla="*/ 2968529 w 129"/>
              <a:gd name="T69" fmla="*/ 55007201 h 56"/>
              <a:gd name="T70" fmla="*/ 1112983 w 129"/>
              <a:gd name="T71" fmla="*/ 50606121 h 56"/>
              <a:gd name="T72" fmla="*/ 556491 w 129"/>
              <a:gd name="T73" fmla="*/ 48406630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598819" y="4357532"/>
            <a:ext cx="14288" cy="57150"/>
          </a:xfrm>
          <a:custGeom>
            <a:avLst/>
            <a:gdLst>
              <a:gd name="T0" fmla="*/ 2550234 w 41"/>
              <a:gd name="T1" fmla="*/ 77764821 h 42"/>
              <a:gd name="T2" fmla="*/ 0 w 41"/>
              <a:gd name="T3" fmla="*/ 55545718 h 42"/>
              <a:gd name="T4" fmla="*/ 0 w 41"/>
              <a:gd name="T5" fmla="*/ 11108871 h 42"/>
              <a:gd name="T6" fmla="*/ 849962 w 41"/>
              <a:gd name="T7" fmla="*/ 9258300 h 42"/>
              <a:gd name="T8" fmla="*/ 1700272 w 41"/>
              <a:gd name="T9" fmla="*/ 5554436 h 42"/>
              <a:gd name="T10" fmla="*/ 2914752 w 41"/>
              <a:gd name="T11" fmla="*/ 1851932 h 42"/>
              <a:gd name="T12" fmla="*/ 4129232 w 41"/>
              <a:gd name="T13" fmla="*/ 0 h 42"/>
              <a:gd name="T14" fmla="*/ 4129232 w 41"/>
              <a:gd name="T15" fmla="*/ 33327975 h 42"/>
              <a:gd name="T16" fmla="*/ 4979194 w 41"/>
              <a:gd name="T17" fmla="*/ 33327975 h 42"/>
              <a:gd name="T18" fmla="*/ 2550234 w 41"/>
              <a:gd name="T19" fmla="*/ 77764821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748044" y="4470244"/>
            <a:ext cx="42863" cy="60325"/>
          </a:xfrm>
          <a:custGeom>
            <a:avLst/>
            <a:gdLst>
              <a:gd name="T0" fmla="*/ 12745520 w 93"/>
              <a:gd name="T1" fmla="*/ 21532931 h 39"/>
              <a:gd name="T2" fmla="*/ 14232360 w 93"/>
              <a:gd name="T3" fmla="*/ 43065863 h 39"/>
              <a:gd name="T4" fmla="*/ 16356613 w 93"/>
              <a:gd name="T5" fmla="*/ 66991686 h 39"/>
              <a:gd name="T6" fmla="*/ 17206038 w 93"/>
              <a:gd name="T7" fmla="*/ 78954597 h 39"/>
              <a:gd name="T8" fmla="*/ 18268395 w 93"/>
              <a:gd name="T9" fmla="*/ 86133272 h 39"/>
              <a:gd name="T10" fmla="*/ 19117820 w 93"/>
              <a:gd name="T11" fmla="*/ 90917509 h 39"/>
              <a:gd name="T12" fmla="*/ 19755234 w 93"/>
              <a:gd name="T13" fmla="*/ 93310401 h 39"/>
              <a:gd name="T14" fmla="*/ 12745520 w 93"/>
              <a:gd name="T15" fmla="*/ 93310401 h 39"/>
              <a:gd name="T16" fmla="*/ 10621267 w 93"/>
              <a:gd name="T17" fmla="*/ 86133272 h 39"/>
              <a:gd name="T18" fmla="*/ 9133967 w 93"/>
              <a:gd name="T19" fmla="*/ 76561706 h 39"/>
              <a:gd name="T20" fmla="*/ 7647128 w 93"/>
              <a:gd name="T21" fmla="*/ 66991686 h 39"/>
              <a:gd name="T22" fmla="*/ 6372760 w 93"/>
              <a:gd name="T23" fmla="*/ 55028774 h 39"/>
              <a:gd name="T24" fmla="*/ 5097932 w 93"/>
              <a:gd name="T25" fmla="*/ 43065863 h 39"/>
              <a:gd name="T26" fmla="*/ 3398621 w 93"/>
              <a:gd name="T27" fmla="*/ 31102951 h 39"/>
              <a:gd name="T28" fmla="*/ 1911782 w 93"/>
              <a:gd name="T29" fmla="*/ 16748695 h 39"/>
              <a:gd name="T30" fmla="*/ 0 w 93"/>
              <a:gd name="T31" fmla="*/ 7177128 h 39"/>
              <a:gd name="T32" fmla="*/ 2336725 w 93"/>
              <a:gd name="T33" fmla="*/ 2392892 h 39"/>
              <a:gd name="T34" fmla="*/ 4248507 w 93"/>
              <a:gd name="T35" fmla="*/ 0 h 39"/>
              <a:gd name="T36" fmla="*/ 5522875 w 93"/>
              <a:gd name="T37" fmla="*/ 0 h 39"/>
              <a:gd name="T38" fmla="*/ 7009714 w 93"/>
              <a:gd name="T39" fmla="*/ 2392892 h 39"/>
              <a:gd name="T40" fmla="*/ 9346438 w 93"/>
              <a:gd name="T41" fmla="*/ 9570020 h 39"/>
              <a:gd name="T42" fmla="*/ 12745520 w 93"/>
              <a:gd name="T43" fmla="*/ 2153293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798844" y="4486119"/>
            <a:ext cx="19050" cy="58738"/>
          </a:xfrm>
          <a:custGeom>
            <a:avLst/>
            <a:gdLst>
              <a:gd name="T0" fmla="*/ 9305192 w 39"/>
              <a:gd name="T1" fmla="*/ 181586981 h 19"/>
              <a:gd name="T2" fmla="*/ 3101731 w 39"/>
              <a:gd name="T3" fmla="*/ 181586981 h 19"/>
              <a:gd name="T4" fmla="*/ 1908908 w 39"/>
              <a:gd name="T5" fmla="*/ 181586981 h 19"/>
              <a:gd name="T6" fmla="*/ 1192823 w 39"/>
              <a:gd name="T7" fmla="*/ 162472399 h 19"/>
              <a:gd name="T8" fmla="*/ 715596 w 39"/>
              <a:gd name="T9" fmla="*/ 133802073 h 19"/>
              <a:gd name="T10" fmla="*/ 477227 w 39"/>
              <a:gd name="T11" fmla="*/ 105128654 h 19"/>
              <a:gd name="T12" fmla="*/ 0 w 39"/>
              <a:gd name="T13" fmla="*/ 47784909 h 19"/>
              <a:gd name="T14" fmla="*/ 0 w 39"/>
              <a:gd name="T15" fmla="*/ 0 h 19"/>
              <a:gd name="T16" fmla="*/ 3101731 w 39"/>
              <a:gd name="T17" fmla="*/ 38229164 h 19"/>
              <a:gd name="T18" fmla="*/ 5249008 w 39"/>
              <a:gd name="T19" fmla="*/ 86014072 h 19"/>
              <a:gd name="T20" fmla="*/ 7157915 w 39"/>
              <a:gd name="T21" fmla="*/ 133802073 h 19"/>
              <a:gd name="T22" fmla="*/ 9305192 w 39"/>
              <a:gd name="T23" fmla="*/ 181586981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663907" y="4613119"/>
            <a:ext cx="14287" cy="57150"/>
          </a:xfrm>
          <a:custGeom>
            <a:avLst/>
            <a:gdLst>
              <a:gd name="T0" fmla="*/ 0 w 26"/>
              <a:gd name="T1" fmla="*/ 90725625 h 36"/>
              <a:gd name="T2" fmla="*/ 906126 w 26"/>
              <a:gd name="T3" fmla="*/ 78125638 h 36"/>
              <a:gd name="T4" fmla="*/ 3019503 w 26"/>
              <a:gd name="T5" fmla="*/ 50403125 h 36"/>
              <a:gd name="T6" fmla="*/ 5435105 w 26"/>
              <a:gd name="T7" fmla="*/ 20161250 h 36"/>
              <a:gd name="T8" fmla="*/ 7850707 w 26"/>
              <a:gd name="T9" fmla="*/ 0 h 36"/>
              <a:gd name="T10" fmla="*/ 7850707 w 26"/>
              <a:gd name="T11" fmla="*/ 22682200 h 36"/>
              <a:gd name="T12" fmla="*/ 7850707 w 26"/>
              <a:gd name="T13" fmla="*/ 45362813 h 36"/>
              <a:gd name="T14" fmla="*/ 7549031 w 26"/>
              <a:gd name="T15" fmla="*/ 55443438 h 36"/>
              <a:gd name="T16" fmla="*/ 7246806 w 26"/>
              <a:gd name="T17" fmla="*/ 65524063 h 36"/>
              <a:gd name="T18" fmla="*/ 6341230 w 26"/>
              <a:gd name="T19" fmla="*/ 73085325 h 36"/>
              <a:gd name="T20" fmla="*/ 5133429 w 26"/>
              <a:gd name="T21" fmla="*/ 80645000 h 36"/>
              <a:gd name="T22" fmla="*/ 4227304 w 26"/>
              <a:gd name="T23" fmla="*/ 85685313 h 36"/>
              <a:gd name="T24" fmla="*/ 3019503 w 26"/>
              <a:gd name="T25" fmla="*/ 88206263 h 36"/>
              <a:gd name="T26" fmla="*/ 1207801 w 26"/>
              <a:gd name="T27" fmla="*/ 90725625 h 36"/>
              <a:gd name="T28" fmla="*/ 0 w 26"/>
              <a:gd name="T29" fmla="*/ 90725625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675019" y="4641694"/>
            <a:ext cx="3175" cy="60325"/>
          </a:xfrm>
          <a:custGeom>
            <a:avLst/>
            <a:gdLst>
              <a:gd name="T0" fmla="*/ 0 w 6"/>
              <a:gd name="T1" fmla="*/ 98354206 h 37"/>
              <a:gd name="T2" fmla="*/ 0 w 6"/>
              <a:gd name="T3" fmla="*/ 0 h 37"/>
              <a:gd name="T4" fmla="*/ 1680104 w 6"/>
              <a:gd name="T5" fmla="*/ 0 h 37"/>
              <a:gd name="T6" fmla="*/ 1680104 w 6"/>
              <a:gd name="T7" fmla="*/ 82405580 h 37"/>
              <a:gd name="T8" fmla="*/ 0 w 6"/>
              <a:gd name="T9" fmla="*/ 98354206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662319" y="4724244"/>
            <a:ext cx="9525" cy="55563"/>
          </a:xfrm>
          <a:custGeom>
            <a:avLst/>
            <a:gdLst>
              <a:gd name="T0" fmla="*/ 0 w 20"/>
              <a:gd name="T1" fmla="*/ 51760165 h 43"/>
              <a:gd name="T2" fmla="*/ 0 w 20"/>
              <a:gd name="T3" fmla="*/ 41742027 h 43"/>
              <a:gd name="T4" fmla="*/ 0 w 20"/>
              <a:gd name="T5" fmla="*/ 30054414 h 43"/>
              <a:gd name="T6" fmla="*/ 453866 w 20"/>
              <a:gd name="T7" fmla="*/ 15026561 h 43"/>
              <a:gd name="T8" fmla="*/ 1587818 w 20"/>
              <a:gd name="T9" fmla="*/ 0 h 43"/>
              <a:gd name="T10" fmla="*/ 2495074 w 20"/>
              <a:gd name="T11" fmla="*/ 11687612 h 43"/>
              <a:gd name="T12" fmla="*/ 3629025 w 20"/>
              <a:gd name="T13" fmla="*/ 20036276 h 43"/>
              <a:gd name="T14" fmla="*/ 3855720 w 20"/>
              <a:gd name="T15" fmla="*/ 23375225 h 43"/>
              <a:gd name="T16" fmla="*/ 4309586 w 20"/>
              <a:gd name="T17" fmla="*/ 30054414 h 43"/>
              <a:gd name="T18" fmla="*/ 4309586 w 20"/>
              <a:gd name="T19" fmla="*/ 35062837 h 43"/>
              <a:gd name="T20" fmla="*/ 4536281 w 20"/>
              <a:gd name="T21" fmla="*/ 41742027 h 43"/>
              <a:gd name="T22" fmla="*/ 4309586 w 20"/>
              <a:gd name="T23" fmla="*/ 45080975 h 43"/>
              <a:gd name="T24" fmla="*/ 4082891 w 20"/>
              <a:gd name="T25" fmla="*/ 50090691 h 43"/>
              <a:gd name="T26" fmla="*/ 3629025 w 20"/>
              <a:gd name="T27" fmla="*/ 55099114 h 43"/>
              <a:gd name="T28" fmla="*/ 2721769 w 20"/>
              <a:gd name="T29" fmla="*/ 60108829 h 43"/>
              <a:gd name="T30" fmla="*/ 2041208 w 20"/>
              <a:gd name="T31" fmla="*/ 65117252 h 43"/>
              <a:gd name="T32" fmla="*/ 1361123 w 20"/>
              <a:gd name="T33" fmla="*/ 68457492 h 43"/>
              <a:gd name="T34" fmla="*/ 453866 w 20"/>
              <a:gd name="T35" fmla="*/ 70126967 h 43"/>
              <a:gd name="T36" fmla="*/ 0 w 20"/>
              <a:gd name="T37" fmla="*/ 71796441 h 43"/>
              <a:gd name="T38" fmla="*/ 0 w 20"/>
              <a:gd name="T39" fmla="*/ 51760165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640094" y="4759169"/>
            <a:ext cx="0" cy="58738"/>
          </a:xfrm>
          <a:custGeom>
            <a:avLst/>
            <a:gdLst>
              <a:gd name="T0" fmla="*/ 115005088 h 30"/>
              <a:gd name="T1" fmla="*/ 95836921 h 30"/>
              <a:gd name="T2" fmla="*/ 69003444 h 30"/>
              <a:gd name="T3" fmla="*/ 34500743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640094" y="4759169"/>
            <a:ext cx="7938" cy="58738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60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394032" y="4346419"/>
            <a:ext cx="17462" cy="60325"/>
          </a:xfrm>
          <a:custGeom>
            <a:avLst/>
            <a:gdLst>
              <a:gd name="T0" fmla="*/ 0 w 46"/>
              <a:gd name="T1" fmla="*/ 0 h 19"/>
              <a:gd name="T2" fmla="*/ 1296743 w 46"/>
              <a:gd name="T3" fmla="*/ 30241875 h 19"/>
              <a:gd name="T4" fmla="*/ 2017620 w 46"/>
              <a:gd name="T5" fmla="*/ 50403125 h 19"/>
              <a:gd name="T6" fmla="*/ 2738118 w 46"/>
              <a:gd name="T7" fmla="*/ 80645000 h 19"/>
              <a:gd name="T8" fmla="*/ 3314364 w 46"/>
              <a:gd name="T9" fmla="*/ 100806250 h 19"/>
              <a:gd name="T10" fmla="*/ 3746738 w 46"/>
              <a:gd name="T11" fmla="*/ 120967500 h 19"/>
              <a:gd name="T12" fmla="*/ 4611107 w 46"/>
              <a:gd name="T13" fmla="*/ 141128750 h 19"/>
              <a:gd name="T14" fmla="*/ 5331984 w 46"/>
              <a:gd name="T15" fmla="*/ 171370625 h 19"/>
              <a:gd name="T16" fmla="*/ 6628727 w 46"/>
              <a:gd name="T17" fmla="*/ 191531875 h 19"/>
              <a:gd name="T18" fmla="*/ 4755358 w 46"/>
              <a:gd name="T19" fmla="*/ 191531875 h 19"/>
              <a:gd name="T20" fmla="*/ 3458615 w 46"/>
              <a:gd name="T21" fmla="*/ 191531875 h 19"/>
              <a:gd name="T22" fmla="*/ 2593866 w 46"/>
              <a:gd name="T23" fmla="*/ 181451250 h 19"/>
              <a:gd name="T24" fmla="*/ 1873369 w 46"/>
              <a:gd name="T25" fmla="*/ 171370625 h 19"/>
              <a:gd name="T26" fmla="*/ 1440995 w 46"/>
              <a:gd name="T27" fmla="*/ 141128750 h 19"/>
              <a:gd name="T28" fmla="*/ 1008620 w 46"/>
              <a:gd name="T29" fmla="*/ 110886875 h 19"/>
              <a:gd name="T30" fmla="*/ 576246 w 46"/>
              <a:gd name="T31" fmla="*/ 7056437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709569" y="4486119"/>
            <a:ext cx="47625" cy="58738"/>
          </a:xfrm>
          <a:custGeom>
            <a:avLst/>
            <a:gdLst>
              <a:gd name="T0" fmla="*/ 7484745 w 100"/>
              <a:gd name="T1" fmla="*/ 0 h 55"/>
              <a:gd name="T2" fmla="*/ 22681406 w 100"/>
              <a:gd name="T3" fmla="*/ 13687022 h 55"/>
              <a:gd name="T4" fmla="*/ 22681406 w 100"/>
              <a:gd name="T5" fmla="*/ 62730048 h 55"/>
              <a:gd name="T6" fmla="*/ 2948464 w 100"/>
              <a:gd name="T7" fmla="*/ 62730048 h 55"/>
              <a:gd name="T8" fmla="*/ 0 w 100"/>
              <a:gd name="T9" fmla="*/ 49043026 h 55"/>
              <a:gd name="T10" fmla="*/ 226695 w 100"/>
              <a:gd name="T11" fmla="*/ 43341168 h 55"/>
              <a:gd name="T12" fmla="*/ 907256 w 100"/>
              <a:gd name="T13" fmla="*/ 36497657 h 55"/>
              <a:gd name="T14" fmla="*/ 2268379 w 100"/>
              <a:gd name="T15" fmla="*/ 28513561 h 55"/>
              <a:gd name="T16" fmla="*/ 3629025 w 100"/>
              <a:gd name="T17" fmla="*/ 20529465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158832" y="4078132"/>
            <a:ext cx="42862" cy="58737"/>
          </a:xfrm>
          <a:custGeom>
            <a:avLst/>
            <a:gdLst>
              <a:gd name="T0" fmla="*/ 9934459 w 99"/>
              <a:gd name="T1" fmla="*/ 2652379 h 51"/>
              <a:gd name="T2" fmla="*/ 10871795 w 99"/>
              <a:gd name="T3" fmla="*/ 1326765 h 51"/>
              <a:gd name="T4" fmla="*/ 11621663 w 99"/>
              <a:gd name="T5" fmla="*/ 0 h 51"/>
              <a:gd name="T6" fmla="*/ 12184065 w 99"/>
              <a:gd name="T7" fmla="*/ 0 h 51"/>
              <a:gd name="T8" fmla="*/ 12933933 w 99"/>
              <a:gd name="T9" fmla="*/ 1326765 h 51"/>
              <a:gd name="T10" fmla="*/ 13870836 w 99"/>
              <a:gd name="T11" fmla="*/ 6632674 h 51"/>
              <a:gd name="T12" fmla="*/ 14808172 w 99"/>
              <a:gd name="T13" fmla="*/ 14590962 h 51"/>
              <a:gd name="T14" fmla="*/ 15558040 w 99"/>
              <a:gd name="T15" fmla="*/ 23876015 h 51"/>
              <a:gd name="T16" fmla="*/ 16307909 w 99"/>
              <a:gd name="T17" fmla="*/ 33161067 h 51"/>
              <a:gd name="T18" fmla="*/ 17057344 w 99"/>
              <a:gd name="T19" fmla="*/ 37140211 h 51"/>
              <a:gd name="T20" fmla="*/ 17432278 w 99"/>
              <a:gd name="T21" fmla="*/ 39792590 h 51"/>
              <a:gd name="T22" fmla="*/ 17994680 w 99"/>
              <a:gd name="T23" fmla="*/ 42446120 h 51"/>
              <a:gd name="T24" fmla="*/ 18557081 w 99"/>
              <a:gd name="T25" fmla="*/ 45098499 h 51"/>
              <a:gd name="T26" fmla="*/ 18557081 w 99"/>
              <a:gd name="T27" fmla="*/ 49077643 h 51"/>
              <a:gd name="T28" fmla="*/ 18182147 w 99"/>
              <a:gd name="T29" fmla="*/ 53056787 h 51"/>
              <a:gd name="T30" fmla="*/ 17807213 w 99"/>
              <a:gd name="T31" fmla="*/ 57035930 h 51"/>
              <a:gd name="T32" fmla="*/ 17057344 w 99"/>
              <a:gd name="T33" fmla="*/ 59689461 h 51"/>
              <a:gd name="T34" fmla="*/ 16120441 w 99"/>
              <a:gd name="T35" fmla="*/ 62341839 h 51"/>
              <a:gd name="T36" fmla="*/ 15183106 w 99"/>
              <a:gd name="T37" fmla="*/ 63668605 h 51"/>
              <a:gd name="T38" fmla="*/ 13870836 w 99"/>
              <a:gd name="T39" fmla="*/ 66320983 h 51"/>
              <a:gd name="T40" fmla="*/ 12746466 w 99"/>
              <a:gd name="T41" fmla="*/ 66320983 h 51"/>
              <a:gd name="T42" fmla="*/ 9746992 w 99"/>
              <a:gd name="T43" fmla="*/ 67647748 h 51"/>
              <a:gd name="T44" fmla="*/ 6747951 w 99"/>
              <a:gd name="T45" fmla="*/ 64995370 h 51"/>
              <a:gd name="T46" fmla="*/ 5061180 w 99"/>
              <a:gd name="T47" fmla="*/ 63668605 h 51"/>
              <a:gd name="T48" fmla="*/ 3373975 w 99"/>
              <a:gd name="T49" fmla="*/ 59689461 h 51"/>
              <a:gd name="T50" fmla="*/ 1687204 w 99"/>
              <a:gd name="T51" fmla="*/ 57035930 h 51"/>
              <a:gd name="T52" fmla="*/ 187467 w 99"/>
              <a:gd name="T53" fmla="*/ 53056787 h 51"/>
              <a:gd name="T54" fmla="*/ 0 w 99"/>
              <a:gd name="T55" fmla="*/ 51731173 h 51"/>
              <a:gd name="T56" fmla="*/ 187467 w 99"/>
              <a:gd name="T57" fmla="*/ 49077643 h 51"/>
              <a:gd name="T58" fmla="*/ 562401 w 99"/>
              <a:gd name="T59" fmla="*/ 46425264 h 51"/>
              <a:gd name="T60" fmla="*/ 1124803 w 99"/>
              <a:gd name="T61" fmla="*/ 43771734 h 51"/>
              <a:gd name="T62" fmla="*/ 2624107 w 99"/>
              <a:gd name="T63" fmla="*/ 38465825 h 51"/>
              <a:gd name="T64" fmla="*/ 4686245 w 99"/>
              <a:gd name="T65" fmla="*/ 31834302 h 51"/>
              <a:gd name="T66" fmla="*/ 6560484 w 99"/>
              <a:gd name="T67" fmla="*/ 25201628 h 51"/>
              <a:gd name="T68" fmla="*/ 8435155 w 99"/>
              <a:gd name="T69" fmla="*/ 15916575 h 51"/>
              <a:gd name="T70" fmla="*/ 8997556 w 99"/>
              <a:gd name="T71" fmla="*/ 13264197 h 51"/>
              <a:gd name="T72" fmla="*/ 9559525 w 99"/>
              <a:gd name="T73" fmla="*/ 9285053 h 51"/>
              <a:gd name="T74" fmla="*/ 9746992 w 99"/>
              <a:gd name="T75" fmla="*/ 6632674 h 51"/>
              <a:gd name="T76" fmla="*/ 9934459 w 99"/>
              <a:gd name="T77" fmla="*/ 2652379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193757" y="3890807"/>
            <a:ext cx="228600" cy="163512"/>
          </a:xfrm>
          <a:custGeom>
            <a:avLst/>
            <a:gdLst>
              <a:gd name="T0" fmla="*/ 59723383 w 525"/>
              <a:gd name="T1" fmla="*/ 7463718 h 311"/>
              <a:gd name="T2" fmla="*/ 64842717 w 525"/>
              <a:gd name="T3" fmla="*/ 5804939 h 311"/>
              <a:gd name="T4" fmla="*/ 72995246 w 525"/>
              <a:gd name="T5" fmla="*/ 5528388 h 311"/>
              <a:gd name="T6" fmla="*/ 77356063 w 525"/>
              <a:gd name="T7" fmla="*/ 4699261 h 311"/>
              <a:gd name="T8" fmla="*/ 80958363 w 525"/>
              <a:gd name="T9" fmla="*/ 1934804 h 311"/>
              <a:gd name="T10" fmla="*/ 97453269 w 525"/>
              <a:gd name="T11" fmla="*/ 1658779 h 311"/>
              <a:gd name="T12" fmla="*/ 99538971 w 525"/>
              <a:gd name="T13" fmla="*/ 5251837 h 311"/>
              <a:gd name="T14" fmla="*/ 88732070 w 525"/>
              <a:gd name="T15" fmla="*/ 12992106 h 311"/>
              <a:gd name="T16" fmla="*/ 74322432 w 525"/>
              <a:gd name="T17" fmla="*/ 20179274 h 311"/>
              <a:gd name="T18" fmla="*/ 67497089 w 525"/>
              <a:gd name="T19" fmla="*/ 22114078 h 311"/>
              <a:gd name="T20" fmla="*/ 60861158 w 525"/>
              <a:gd name="T21" fmla="*/ 22943205 h 311"/>
              <a:gd name="T22" fmla="*/ 52898040 w 525"/>
              <a:gd name="T23" fmla="*/ 27919017 h 311"/>
              <a:gd name="T24" fmla="*/ 46262109 w 525"/>
              <a:gd name="T25" fmla="*/ 33447405 h 311"/>
              <a:gd name="T26" fmla="*/ 41332186 w 525"/>
              <a:gd name="T27" fmla="*/ 35658760 h 311"/>
              <a:gd name="T28" fmla="*/ 35454771 w 525"/>
              <a:gd name="T29" fmla="*/ 34000507 h 311"/>
              <a:gd name="T30" fmla="*/ 33748327 w 525"/>
              <a:gd name="T31" fmla="*/ 37870115 h 311"/>
              <a:gd name="T32" fmla="*/ 33179657 w 525"/>
              <a:gd name="T33" fmla="*/ 40081470 h 311"/>
              <a:gd name="T34" fmla="*/ 35075513 w 525"/>
              <a:gd name="T35" fmla="*/ 40911123 h 311"/>
              <a:gd name="T36" fmla="*/ 34886102 w 525"/>
              <a:gd name="T37" fmla="*/ 43399029 h 311"/>
              <a:gd name="T38" fmla="*/ 33369069 w 525"/>
              <a:gd name="T39" fmla="*/ 46162960 h 311"/>
              <a:gd name="T40" fmla="*/ 34127585 w 525"/>
              <a:gd name="T41" fmla="*/ 49479993 h 311"/>
              <a:gd name="T42" fmla="*/ 30714696 w 525"/>
              <a:gd name="T43" fmla="*/ 53626678 h 311"/>
              <a:gd name="T44" fmla="*/ 27302242 w 525"/>
              <a:gd name="T45" fmla="*/ 56390610 h 311"/>
              <a:gd name="T46" fmla="*/ 26733137 w 525"/>
              <a:gd name="T47" fmla="*/ 58878516 h 311"/>
              <a:gd name="T48" fmla="*/ 27302242 w 525"/>
              <a:gd name="T49" fmla="*/ 63025201 h 311"/>
              <a:gd name="T50" fmla="*/ 30904543 w 525"/>
              <a:gd name="T51" fmla="*/ 68277038 h 311"/>
              <a:gd name="T52" fmla="*/ 36213288 w 525"/>
              <a:gd name="T53" fmla="*/ 73805426 h 311"/>
              <a:gd name="T54" fmla="*/ 48537223 w 525"/>
              <a:gd name="T55" fmla="*/ 82927924 h 311"/>
              <a:gd name="T56" fmla="*/ 46072262 w 525"/>
              <a:gd name="T57" fmla="*/ 85968406 h 311"/>
              <a:gd name="T58" fmla="*/ 35834030 w 525"/>
              <a:gd name="T59" fmla="*/ 85415304 h 311"/>
              <a:gd name="T60" fmla="*/ 27491654 w 525"/>
              <a:gd name="T61" fmla="*/ 85139279 h 311"/>
              <a:gd name="T62" fmla="*/ 24458023 w 525"/>
              <a:gd name="T63" fmla="*/ 84033601 h 311"/>
              <a:gd name="T64" fmla="*/ 23320683 w 525"/>
              <a:gd name="T65" fmla="*/ 82374822 h 311"/>
              <a:gd name="T66" fmla="*/ 22751578 w 525"/>
              <a:gd name="T67" fmla="*/ 77952112 h 311"/>
              <a:gd name="T68" fmla="*/ 21993497 w 525"/>
              <a:gd name="T69" fmla="*/ 76846434 h 311"/>
              <a:gd name="T70" fmla="*/ 18011938 w 525"/>
              <a:gd name="T71" fmla="*/ 76569883 h 311"/>
              <a:gd name="T72" fmla="*/ 15167719 w 525"/>
              <a:gd name="T73" fmla="*/ 81822246 h 311"/>
              <a:gd name="T74" fmla="*/ 8342376 w 525"/>
              <a:gd name="T75" fmla="*/ 77952112 h 311"/>
              <a:gd name="T76" fmla="*/ 0 w 525"/>
              <a:gd name="T77" fmla="*/ 68000487 h 311"/>
              <a:gd name="T78" fmla="*/ 3412889 w 525"/>
              <a:gd name="T79" fmla="*/ 66065683 h 311"/>
              <a:gd name="T80" fmla="*/ 6446520 w 525"/>
              <a:gd name="T81" fmla="*/ 61366422 h 311"/>
              <a:gd name="T82" fmla="*/ 5308745 w 525"/>
              <a:gd name="T83" fmla="*/ 58878516 h 311"/>
              <a:gd name="T84" fmla="*/ 6446520 w 525"/>
              <a:gd name="T85" fmla="*/ 55284932 h 311"/>
              <a:gd name="T86" fmla="*/ 7583859 w 525"/>
              <a:gd name="T87" fmla="*/ 51967899 h 311"/>
              <a:gd name="T88" fmla="*/ 6446520 w 525"/>
              <a:gd name="T89" fmla="*/ 49479993 h 311"/>
              <a:gd name="T90" fmla="*/ 25405951 w 525"/>
              <a:gd name="T91" fmla="*/ 49479993 h 311"/>
              <a:gd name="T92" fmla="*/ 24837281 w 525"/>
              <a:gd name="T93" fmla="*/ 48927417 h 311"/>
              <a:gd name="T94" fmla="*/ 17064010 w 525"/>
              <a:gd name="T95" fmla="*/ 45886935 h 311"/>
              <a:gd name="T96" fmla="*/ 10238232 w 525"/>
              <a:gd name="T97" fmla="*/ 40911123 h 311"/>
              <a:gd name="T98" fmla="*/ 15926235 w 525"/>
              <a:gd name="T99" fmla="*/ 37040989 h 311"/>
              <a:gd name="T100" fmla="*/ 22751578 w 525"/>
              <a:gd name="T101" fmla="*/ 30683474 h 311"/>
              <a:gd name="T102" fmla="*/ 21045569 w 525"/>
              <a:gd name="T103" fmla="*/ 28471593 h 311"/>
              <a:gd name="T104" fmla="*/ 18959866 w 525"/>
              <a:gd name="T105" fmla="*/ 22114078 h 311"/>
              <a:gd name="T106" fmla="*/ 24078765 w 525"/>
              <a:gd name="T107" fmla="*/ 21008400 h 311"/>
              <a:gd name="T108" fmla="*/ 34886102 w 525"/>
              <a:gd name="T109" fmla="*/ 16032588 h 311"/>
              <a:gd name="T110" fmla="*/ 48157965 w 525"/>
              <a:gd name="T111" fmla="*/ 9675073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985794" y="4201957"/>
            <a:ext cx="31750" cy="55562"/>
          </a:xfrm>
          <a:custGeom>
            <a:avLst/>
            <a:gdLst>
              <a:gd name="T0" fmla="*/ 7429902 w 79"/>
              <a:gd name="T1" fmla="*/ 0 h 38"/>
              <a:gd name="T2" fmla="*/ 8722408 w 79"/>
              <a:gd name="T3" fmla="*/ 2137675 h 38"/>
              <a:gd name="T4" fmla="*/ 10014513 w 79"/>
              <a:gd name="T5" fmla="*/ 6413025 h 38"/>
              <a:gd name="T6" fmla="*/ 10983491 w 79"/>
              <a:gd name="T7" fmla="*/ 14965186 h 38"/>
              <a:gd name="T8" fmla="*/ 11629744 w 79"/>
              <a:gd name="T9" fmla="*/ 25655022 h 38"/>
              <a:gd name="T10" fmla="*/ 12114032 w 79"/>
              <a:gd name="T11" fmla="*/ 36344859 h 38"/>
              <a:gd name="T12" fmla="*/ 12437158 w 79"/>
              <a:gd name="T13" fmla="*/ 47033233 h 38"/>
              <a:gd name="T14" fmla="*/ 12760285 w 79"/>
              <a:gd name="T15" fmla="*/ 57723069 h 38"/>
              <a:gd name="T16" fmla="*/ 12760285 w 79"/>
              <a:gd name="T17" fmla="*/ 68412906 h 38"/>
              <a:gd name="T18" fmla="*/ 12437158 w 79"/>
              <a:gd name="T19" fmla="*/ 72688255 h 38"/>
              <a:gd name="T20" fmla="*/ 12114032 w 79"/>
              <a:gd name="T21" fmla="*/ 74827392 h 38"/>
              <a:gd name="T22" fmla="*/ 11629744 w 79"/>
              <a:gd name="T23" fmla="*/ 76965067 h 38"/>
              <a:gd name="T24" fmla="*/ 10983491 w 79"/>
              <a:gd name="T25" fmla="*/ 79102742 h 38"/>
              <a:gd name="T26" fmla="*/ 9206696 w 79"/>
              <a:gd name="T27" fmla="*/ 81240417 h 38"/>
              <a:gd name="T28" fmla="*/ 7429902 w 79"/>
              <a:gd name="T29" fmla="*/ 81240417 h 38"/>
              <a:gd name="T30" fmla="*/ 6137797 w 79"/>
              <a:gd name="T31" fmla="*/ 79102742 h 38"/>
              <a:gd name="T32" fmla="*/ 4845693 w 79"/>
              <a:gd name="T33" fmla="*/ 76965067 h 38"/>
              <a:gd name="T34" fmla="*/ 3392025 w 79"/>
              <a:gd name="T35" fmla="*/ 74827392 h 38"/>
              <a:gd name="T36" fmla="*/ 2422646 w 79"/>
              <a:gd name="T37" fmla="*/ 68412906 h 38"/>
              <a:gd name="T38" fmla="*/ 1292104 w 79"/>
              <a:gd name="T39" fmla="*/ 61999881 h 38"/>
              <a:gd name="T40" fmla="*/ 646253 w 79"/>
              <a:gd name="T41" fmla="*/ 53447720 h 38"/>
              <a:gd name="T42" fmla="*/ 323127 w 79"/>
              <a:gd name="T43" fmla="*/ 47033233 h 38"/>
              <a:gd name="T44" fmla="*/ 161563 w 79"/>
              <a:gd name="T45" fmla="*/ 42757883 h 38"/>
              <a:gd name="T46" fmla="*/ 0 w 79"/>
              <a:gd name="T47" fmla="*/ 36344859 h 38"/>
              <a:gd name="T48" fmla="*/ 0 w 79"/>
              <a:gd name="T49" fmla="*/ 27792697 h 38"/>
              <a:gd name="T50" fmla="*/ 161563 w 79"/>
              <a:gd name="T51" fmla="*/ 23517348 h 38"/>
              <a:gd name="T52" fmla="*/ 646253 w 79"/>
              <a:gd name="T53" fmla="*/ 19240536 h 38"/>
              <a:gd name="T54" fmla="*/ 1615231 w 79"/>
              <a:gd name="T55" fmla="*/ 12827511 h 38"/>
              <a:gd name="T56" fmla="*/ 2745772 w 79"/>
              <a:gd name="T57" fmla="*/ 8552162 h 38"/>
              <a:gd name="T58" fmla="*/ 5168820 w 79"/>
              <a:gd name="T59" fmla="*/ 2137675 h 38"/>
              <a:gd name="T60" fmla="*/ 7429902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290844" y="4498819"/>
            <a:ext cx="196850" cy="268288"/>
          </a:xfrm>
          <a:custGeom>
            <a:avLst/>
            <a:gdLst>
              <a:gd name="T0" fmla="*/ 4782297 w 459"/>
              <a:gd name="T1" fmla="*/ 12404251 h 511"/>
              <a:gd name="T2" fmla="*/ 2206950 w 459"/>
              <a:gd name="T3" fmla="*/ 6891484 h 511"/>
              <a:gd name="T4" fmla="*/ 0 w 459"/>
              <a:gd name="T5" fmla="*/ 0 h 511"/>
              <a:gd name="T6" fmla="*/ 4046361 w 459"/>
              <a:gd name="T7" fmla="*/ 1929468 h 511"/>
              <a:gd name="T8" fmla="*/ 6069756 w 459"/>
              <a:gd name="T9" fmla="*/ 1653830 h 511"/>
              <a:gd name="T10" fmla="*/ 17472903 w 459"/>
              <a:gd name="T11" fmla="*/ 18468820 h 511"/>
              <a:gd name="T12" fmla="*/ 26853514 w 459"/>
              <a:gd name="T13" fmla="*/ 33905093 h 511"/>
              <a:gd name="T14" fmla="*/ 39728104 w 459"/>
              <a:gd name="T15" fmla="*/ 54579020 h 511"/>
              <a:gd name="T16" fmla="*/ 47453287 w 459"/>
              <a:gd name="T17" fmla="*/ 65329441 h 511"/>
              <a:gd name="T18" fmla="*/ 55729993 w 459"/>
              <a:gd name="T19" fmla="*/ 73323478 h 511"/>
              <a:gd name="T20" fmla="*/ 68421029 w 459"/>
              <a:gd name="T21" fmla="*/ 85727729 h 511"/>
              <a:gd name="T22" fmla="*/ 73202897 w 459"/>
              <a:gd name="T23" fmla="*/ 92619213 h 511"/>
              <a:gd name="T24" fmla="*/ 67133141 w 459"/>
              <a:gd name="T25" fmla="*/ 88208474 h 511"/>
              <a:gd name="T26" fmla="*/ 59592370 w 459"/>
              <a:gd name="T27" fmla="*/ 81593154 h 511"/>
              <a:gd name="T28" fmla="*/ 57752959 w 459"/>
              <a:gd name="T29" fmla="*/ 82144430 h 511"/>
              <a:gd name="T30" fmla="*/ 57568975 w 459"/>
              <a:gd name="T31" fmla="*/ 85727729 h 511"/>
              <a:gd name="T32" fmla="*/ 58304911 w 459"/>
              <a:gd name="T33" fmla="*/ 92894851 h 511"/>
              <a:gd name="T34" fmla="*/ 59960338 w 459"/>
              <a:gd name="T35" fmla="*/ 98683257 h 511"/>
              <a:gd name="T36" fmla="*/ 64006700 w 459"/>
              <a:gd name="T37" fmla="*/ 106677294 h 511"/>
              <a:gd name="T38" fmla="*/ 72467390 w 459"/>
              <a:gd name="T39" fmla="*/ 116049523 h 511"/>
              <a:gd name="T40" fmla="*/ 80928080 w 459"/>
              <a:gd name="T41" fmla="*/ 126248667 h 511"/>
              <a:gd name="T42" fmla="*/ 82399094 w 459"/>
              <a:gd name="T43" fmla="*/ 131210158 h 511"/>
              <a:gd name="T44" fmla="*/ 78720701 w 459"/>
              <a:gd name="T45" fmla="*/ 129280689 h 511"/>
              <a:gd name="T46" fmla="*/ 72099422 w 459"/>
              <a:gd name="T47" fmla="*/ 127351221 h 511"/>
              <a:gd name="T48" fmla="*/ 72283406 w 459"/>
              <a:gd name="T49" fmla="*/ 136172173 h 511"/>
              <a:gd name="T50" fmla="*/ 73202897 w 459"/>
              <a:gd name="T51" fmla="*/ 140858025 h 511"/>
              <a:gd name="T52" fmla="*/ 71363486 w 459"/>
              <a:gd name="T53" fmla="*/ 135620897 h 511"/>
              <a:gd name="T54" fmla="*/ 66765602 w 459"/>
              <a:gd name="T55" fmla="*/ 128453774 h 511"/>
              <a:gd name="T56" fmla="*/ 63086780 w 459"/>
              <a:gd name="T57" fmla="*/ 122664844 h 511"/>
              <a:gd name="T58" fmla="*/ 62351273 w 459"/>
              <a:gd name="T59" fmla="*/ 118805907 h 511"/>
              <a:gd name="T60" fmla="*/ 60327878 w 459"/>
              <a:gd name="T61" fmla="*/ 113292615 h 511"/>
              <a:gd name="T62" fmla="*/ 57017452 w 459"/>
              <a:gd name="T63" fmla="*/ 105850379 h 511"/>
              <a:gd name="T64" fmla="*/ 54810073 w 459"/>
              <a:gd name="T65" fmla="*/ 101164002 h 511"/>
              <a:gd name="T66" fmla="*/ 51499648 w 459"/>
              <a:gd name="T67" fmla="*/ 98683257 h 511"/>
              <a:gd name="T68" fmla="*/ 48556762 w 459"/>
              <a:gd name="T69" fmla="*/ 94548681 h 511"/>
              <a:gd name="T70" fmla="*/ 45797860 w 459"/>
              <a:gd name="T71" fmla="*/ 86554644 h 511"/>
              <a:gd name="T72" fmla="*/ 45061924 w 459"/>
              <a:gd name="T73" fmla="*/ 80765714 h 511"/>
              <a:gd name="T74" fmla="*/ 43038958 w 459"/>
              <a:gd name="T75" fmla="*/ 77458053 h 511"/>
              <a:gd name="T76" fmla="*/ 35681743 w 459"/>
              <a:gd name="T77" fmla="*/ 67258909 h 511"/>
              <a:gd name="T78" fmla="*/ 31451398 w 459"/>
              <a:gd name="T79" fmla="*/ 60643589 h 511"/>
              <a:gd name="T80" fmla="*/ 29979955 w 459"/>
              <a:gd name="T81" fmla="*/ 55957211 h 511"/>
              <a:gd name="T82" fmla="*/ 28324957 w 459"/>
              <a:gd name="T83" fmla="*/ 51546998 h 511"/>
              <a:gd name="T84" fmla="*/ 21151725 w 459"/>
              <a:gd name="T85" fmla="*/ 42726045 h 511"/>
              <a:gd name="T86" fmla="*/ 12875019 w 459"/>
              <a:gd name="T87" fmla="*/ 35834561 h 511"/>
              <a:gd name="T88" fmla="*/ 8644674 w 459"/>
              <a:gd name="T89" fmla="*/ 30321794 h 511"/>
              <a:gd name="T90" fmla="*/ 6989247 w 459"/>
              <a:gd name="T91" fmla="*/ 25635417 h 511"/>
              <a:gd name="T92" fmla="*/ 6253311 w 459"/>
              <a:gd name="T93" fmla="*/ 2067392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58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6081169" y="4454369"/>
            <a:ext cx="671513" cy="384175"/>
            <a:chOff x="4115" y="1551"/>
            <a:chExt cx="504" cy="244"/>
          </a:xfrm>
          <a:solidFill>
            <a:srgbClr val="DDC9A3"/>
          </a:solidFill>
        </p:grpSpPr>
        <p:sp>
          <p:nvSpPr>
            <p:cNvPr id="58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 w 240"/>
                <a:gd name="T1" fmla="*/ 27 h 259"/>
                <a:gd name="T2" fmla="*/ 9 w 240"/>
                <a:gd name="T3" fmla="*/ 29 h 259"/>
                <a:gd name="T4" fmla="*/ 13 w 240"/>
                <a:gd name="T5" fmla="*/ 27 h 259"/>
                <a:gd name="T6" fmla="*/ 14 w 240"/>
                <a:gd name="T7" fmla="*/ 23 h 259"/>
                <a:gd name="T8" fmla="*/ 21 w 240"/>
                <a:gd name="T9" fmla="*/ 18 h 259"/>
                <a:gd name="T10" fmla="*/ 23 w 240"/>
                <a:gd name="T11" fmla="*/ 12 h 259"/>
                <a:gd name="T12" fmla="*/ 26 w 240"/>
                <a:gd name="T13" fmla="*/ 3 h 259"/>
                <a:gd name="T14" fmla="*/ 23 w 240"/>
                <a:gd name="T15" fmla="*/ 0 h 259"/>
                <a:gd name="T16" fmla="*/ 22 w 240"/>
                <a:gd name="T17" fmla="*/ 4 h 259"/>
                <a:gd name="T18" fmla="*/ 22 w 240"/>
                <a:gd name="T19" fmla="*/ 8 h 259"/>
                <a:gd name="T20" fmla="*/ 18 w 240"/>
                <a:gd name="T21" fmla="*/ 12 h 259"/>
                <a:gd name="T22" fmla="*/ 14 w 240"/>
                <a:gd name="T23" fmla="*/ 16 h 259"/>
                <a:gd name="T24" fmla="*/ 12 w 240"/>
                <a:gd name="T25" fmla="*/ 20 h 259"/>
                <a:gd name="T26" fmla="*/ 10 w 240"/>
                <a:gd name="T27" fmla="*/ 24 h 259"/>
                <a:gd name="T28" fmla="*/ 2 w 240"/>
                <a:gd name="T29" fmla="*/ 25 h 259"/>
                <a:gd name="T30" fmla="*/ 0 w 240"/>
                <a:gd name="T31" fmla="*/ 25 h 259"/>
                <a:gd name="T32" fmla="*/ 1 w 240"/>
                <a:gd name="T33" fmla="*/ 27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8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4 w 259"/>
                <a:gd name="T1" fmla="*/ 11 h 104"/>
                <a:gd name="T2" fmla="*/ 3 w 259"/>
                <a:gd name="T3" fmla="*/ 9 h 104"/>
                <a:gd name="T4" fmla="*/ 6 w 259"/>
                <a:gd name="T5" fmla="*/ 7 h 104"/>
                <a:gd name="T6" fmla="*/ 7 w 259"/>
                <a:gd name="T7" fmla="*/ 5 h 104"/>
                <a:gd name="T8" fmla="*/ 13 w 259"/>
                <a:gd name="T9" fmla="*/ 5 h 104"/>
                <a:gd name="T10" fmla="*/ 18 w 259"/>
                <a:gd name="T11" fmla="*/ 5 h 104"/>
                <a:gd name="T12" fmla="*/ 26 w 259"/>
                <a:gd name="T13" fmla="*/ 3 h 104"/>
                <a:gd name="T14" fmla="*/ 27 w 259"/>
                <a:gd name="T15" fmla="*/ 1 h 104"/>
                <a:gd name="T16" fmla="*/ 26 w 259"/>
                <a:gd name="T17" fmla="*/ 0 h 104"/>
                <a:gd name="T18" fmla="*/ 21 w 259"/>
                <a:gd name="T19" fmla="*/ 1 h 104"/>
                <a:gd name="T20" fmla="*/ 16 w 259"/>
                <a:gd name="T21" fmla="*/ 1 h 104"/>
                <a:gd name="T22" fmla="*/ 11 w 259"/>
                <a:gd name="T23" fmla="*/ 1 h 104"/>
                <a:gd name="T24" fmla="*/ 6 w 259"/>
                <a:gd name="T25" fmla="*/ 2 h 104"/>
                <a:gd name="T26" fmla="*/ 3 w 259"/>
                <a:gd name="T27" fmla="*/ 5 h 104"/>
                <a:gd name="T28" fmla="*/ 0 w 259"/>
                <a:gd name="T29" fmla="*/ 7 h 104"/>
                <a:gd name="T30" fmla="*/ 0 w 259"/>
                <a:gd name="T31" fmla="*/ 11 h 104"/>
                <a:gd name="T32" fmla="*/ 4 w 259"/>
                <a:gd name="T33" fmla="*/ 1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8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138194" y="5203669"/>
            <a:ext cx="530225" cy="511175"/>
          </a:xfrm>
          <a:custGeom>
            <a:avLst/>
            <a:gdLst>
              <a:gd name="T0" fmla="*/ 174039118 w 1227"/>
              <a:gd name="T1" fmla="*/ 127045523 h 979"/>
              <a:gd name="T2" fmla="*/ 174039118 w 1227"/>
              <a:gd name="T3" fmla="*/ 120502588 h 979"/>
              <a:gd name="T4" fmla="*/ 173665757 w 1227"/>
              <a:gd name="T5" fmla="*/ 112323788 h 979"/>
              <a:gd name="T6" fmla="*/ 169557485 w 1227"/>
              <a:gd name="T7" fmla="*/ 104962659 h 979"/>
              <a:gd name="T8" fmla="*/ 167876927 w 1227"/>
              <a:gd name="T9" fmla="*/ 100055066 h 979"/>
              <a:gd name="T10" fmla="*/ 152564357 w 1227"/>
              <a:gd name="T11" fmla="*/ 85060773 h 979"/>
              <a:gd name="T12" fmla="*/ 141733853 w 1227"/>
              <a:gd name="T13" fmla="*/ 71701823 h 979"/>
              <a:gd name="T14" fmla="*/ 140426656 w 1227"/>
              <a:gd name="T15" fmla="*/ 62432272 h 979"/>
              <a:gd name="T16" fmla="*/ 135571229 w 1227"/>
              <a:gd name="T17" fmla="*/ 59433623 h 979"/>
              <a:gd name="T18" fmla="*/ 129782400 w 1227"/>
              <a:gd name="T19" fmla="*/ 56434451 h 979"/>
              <a:gd name="T20" fmla="*/ 119138576 w 1227"/>
              <a:gd name="T21" fmla="*/ 53435279 h 979"/>
              <a:gd name="T22" fmla="*/ 111295394 w 1227"/>
              <a:gd name="T23" fmla="*/ 54798587 h 979"/>
              <a:gd name="T24" fmla="*/ 106440400 w 1227"/>
              <a:gd name="T25" fmla="*/ 55616780 h 979"/>
              <a:gd name="T26" fmla="*/ 98971012 w 1227"/>
              <a:gd name="T27" fmla="*/ 53162722 h 979"/>
              <a:gd name="T28" fmla="*/ 94302266 w 1227"/>
              <a:gd name="T29" fmla="*/ 48800765 h 979"/>
              <a:gd name="T30" fmla="*/ 90193995 w 1227"/>
              <a:gd name="T31" fmla="*/ 34896701 h 979"/>
              <a:gd name="T32" fmla="*/ 86832878 w 1227"/>
              <a:gd name="T33" fmla="*/ 28080686 h 979"/>
              <a:gd name="T34" fmla="*/ 80670687 w 1227"/>
              <a:gd name="T35" fmla="*/ 22082864 h 979"/>
              <a:gd name="T36" fmla="*/ 68159192 w 1227"/>
              <a:gd name="T37" fmla="*/ 16630679 h 979"/>
              <a:gd name="T38" fmla="*/ 56581533 w 1227"/>
              <a:gd name="T39" fmla="*/ 8723914 h 979"/>
              <a:gd name="T40" fmla="*/ 39961766 w 1227"/>
              <a:gd name="T41" fmla="*/ 2726093 h 979"/>
              <a:gd name="T42" fmla="*/ 30998501 w 1227"/>
              <a:gd name="T43" fmla="*/ 10359779 h 979"/>
              <a:gd name="T44" fmla="*/ 28197426 w 1227"/>
              <a:gd name="T45" fmla="*/ 16630679 h 979"/>
              <a:gd name="T46" fmla="*/ 28570787 w 1227"/>
              <a:gd name="T47" fmla="*/ 24536922 h 979"/>
              <a:gd name="T48" fmla="*/ 31558543 w 1227"/>
              <a:gd name="T49" fmla="*/ 32170608 h 979"/>
              <a:gd name="T50" fmla="*/ 28197426 w 1227"/>
              <a:gd name="T51" fmla="*/ 40894522 h 979"/>
              <a:gd name="T52" fmla="*/ 17739851 w 1227"/>
              <a:gd name="T53" fmla="*/ 50709187 h 979"/>
              <a:gd name="T54" fmla="*/ 10083782 w 1227"/>
              <a:gd name="T55" fmla="*/ 51799937 h 979"/>
              <a:gd name="T56" fmla="*/ 1680558 w 1227"/>
              <a:gd name="T57" fmla="*/ 49891515 h 979"/>
              <a:gd name="T58" fmla="*/ 0 w 1227"/>
              <a:gd name="T59" fmla="*/ 64340694 h 979"/>
              <a:gd name="T60" fmla="*/ 1680558 w 1227"/>
              <a:gd name="T61" fmla="*/ 73337687 h 979"/>
              <a:gd name="T62" fmla="*/ 4668314 w 1227"/>
              <a:gd name="T63" fmla="*/ 76881451 h 979"/>
              <a:gd name="T64" fmla="*/ 7469388 w 1227"/>
              <a:gd name="T65" fmla="*/ 83697466 h 979"/>
              <a:gd name="T66" fmla="*/ 15499250 w 1227"/>
              <a:gd name="T67" fmla="*/ 99237395 h 979"/>
              <a:gd name="T68" fmla="*/ 19047048 w 1227"/>
              <a:gd name="T69" fmla="*/ 112868902 h 979"/>
              <a:gd name="T70" fmla="*/ 22595277 w 1227"/>
              <a:gd name="T71" fmla="*/ 116413188 h 979"/>
              <a:gd name="T72" fmla="*/ 24835877 w 1227"/>
              <a:gd name="T73" fmla="*/ 119411838 h 979"/>
              <a:gd name="T74" fmla="*/ 27636952 w 1227"/>
              <a:gd name="T75" fmla="*/ 127863717 h 979"/>
              <a:gd name="T76" fmla="*/ 41829005 w 1227"/>
              <a:gd name="T77" fmla="*/ 148855831 h 979"/>
              <a:gd name="T78" fmla="*/ 46497751 w 1227"/>
              <a:gd name="T79" fmla="*/ 159488689 h 979"/>
              <a:gd name="T80" fmla="*/ 47804948 w 1227"/>
              <a:gd name="T81" fmla="*/ 170121024 h 979"/>
              <a:gd name="T82" fmla="*/ 49672187 w 1227"/>
              <a:gd name="T83" fmla="*/ 179663132 h 979"/>
              <a:gd name="T84" fmla="*/ 55834378 w 1227"/>
              <a:gd name="T85" fmla="*/ 191113660 h 979"/>
              <a:gd name="T86" fmla="*/ 67412037 w 1227"/>
              <a:gd name="T87" fmla="*/ 207471260 h 979"/>
              <a:gd name="T88" fmla="*/ 72454144 w 1227"/>
              <a:gd name="T89" fmla="*/ 221920961 h 979"/>
              <a:gd name="T90" fmla="*/ 79363490 w 1227"/>
              <a:gd name="T91" fmla="*/ 236370140 h 979"/>
              <a:gd name="T92" fmla="*/ 90193995 w 1227"/>
              <a:gd name="T93" fmla="*/ 255726911 h 979"/>
              <a:gd name="T94" fmla="*/ 98597219 w 1227"/>
              <a:gd name="T95" fmla="*/ 266904883 h 979"/>
              <a:gd name="T96" fmla="*/ 101398293 w 1227"/>
              <a:gd name="T97" fmla="*/ 259816311 h 979"/>
              <a:gd name="T98" fmla="*/ 101958767 w 1227"/>
              <a:gd name="T99" fmla="*/ 247820668 h 979"/>
              <a:gd name="T100" fmla="*/ 106440400 w 1227"/>
              <a:gd name="T101" fmla="*/ 244276383 h 979"/>
              <a:gd name="T102" fmla="*/ 112975953 w 1227"/>
              <a:gd name="T103" fmla="*/ 244003825 h 979"/>
              <a:gd name="T104" fmla="*/ 123246847 w 1227"/>
              <a:gd name="T105" fmla="*/ 247820668 h 979"/>
              <a:gd name="T106" fmla="*/ 132210113 w 1227"/>
              <a:gd name="T107" fmla="*/ 257090219 h 979"/>
              <a:gd name="T108" fmla="*/ 146962208 w 1227"/>
              <a:gd name="T109" fmla="*/ 228463897 h 979"/>
              <a:gd name="T110" fmla="*/ 223897985 w 1227"/>
              <a:gd name="T111" fmla="*/ 154581095 h 979"/>
              <a:gd name="T112" fmla="*/ 175532996 w 1227"/>
              <a:gd name="T113" fmla="*/ 127590638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612732" y="4748057"/>
            <a:ext cx="57150" cy="57150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352382" y="4960782"/>
            <a:ext cx="15875" cy="57150"/>
          </a:xfrm>
          <a:custGeom>
            <a:avLst/>
            <a:gdLst>
              <a:gd name="T0" fmla="*/ 7412224 w 34"/>
              <a:gd name="T1" fmla="*/ 66655561 h 49"/>
              <a:gd name="T2" fmla="*/ 7412224 w 34"/>
              <a:gd name="T3" fmla="*/ 46250679 h 49"/>
              <a:gd name="T4" fmla="*/ 7412224 w 34"/>
              <a:gd name="T5" fmla="*/ 34007749 h 49"/>
              <a:gd name="T6" fmla="*/ 7194176 w 34"/>
              <a:gd name="T7" fmla="*/ 28566836 h 49"/>
              <a:gd name="T8" fmla="*/ 7194176 w 34"/>
              <a:gd name="T9" fmla="*/ 23125922 h 49"/>
              <a:gd name="T10" fmla="*/ 6758081 w 34"/>
              <a:gd name="T11" fmla="*/ 20404883 h 49"/>
              <a:gd name="T12" fmla="*/ 6540033 w 34"/>
              <a:gd name="T13" fmla="*/ 16323906 h 49"/>
              <a:gd name="T14" fmla="*/ 5450261 w 34"/>
              <a:gd name="T15" fmla="*/ 10882993 h 49"/>
              <a:gd name="T16" fmla="*/ 4578070 w 34"/>
              <a:gd name="T17" fmla="*/ 0 h 49"/>
              <a:gd name="T18" fmla="*/ 1743915 w 34"/>
              <a:gd name="T19" fmla="*/ 0 h 49"/>
              <a:gd name="T20" fmla="*/ 0 w 34"/>
              <a:gd name="T21" fmla="*/ 0 h 49"/>
              <a:gd name="T22" fmla="*/ 654143 w 34"/>
              <a:gd name="T23" fmla="*/ 14963969 h 49"/>
              <a:gd name="T24" fmla="*/ 1525868 w 34"/>
              <a:gd name="T25" fmla="*/ 27206899 h 49"/>
              <a:gd name="T26" fmla="*/ 2180011 w 34"/>
              <a:gd name="T27" fmla="*/ 36728789 h 49"/>
              <a:gd name="T28" fmla="*/ 3052202 w 34"/>
              <a:gd name="T29" fmla="*/ 46250679 h 49"/>
              <a:gd name="T30" fmla="*/ 4141974 w 34"/>
              <a:gd name="T31" fmla="*/ 53052695 h 49"/>
              <a:gd name="T32" fmla="*/ 5232213 w 34"/>
              <a:gd name="T33" fmla="*/ 58493608 h 49"/>
              <a:gd name="T34" fmla="*/ 6321985 w 34"/>
              <a:gd name="T35" fmla="*/ 62574585 h 49"/>
              <a:gd name="T36" fmla="*/ 7412224 w 34"/>
              <a:gd name="T37" fmla="*/ 66655561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944394" y="5306857"/>
            <a:ext cx="28575" cy="57150"/>
          </a:xfrm>
          <a:custGeom>
            <a:avLst/>
            <a:gdLst>
              <a:gd name="T0" fmla="*/ 13608844 w 60"/>
              <a:gd name="T1" fmla="*/ 0 h 74"/>
              <a:gd name="T2" fmla="*/ 12701588 w 60"/>
              <a:gd name="T3" fmla="*/ 2385626 h 74"/>
              <a:gd name="T4" fmla="*/ 11567636 w 60"/>
              <a:gd name="T5" fmla="*/ 5964452 h 74"/>
              <a:gd name="T6" fmla="*/ 10887075 w 60"/>
              <a:gd name="T7" fmla="*/ 8946292 h 74"/>
              <a:gd name="T8" fmla="*/ 10433685 w 60"/>
              <a:gd name="T9" fmla="*/ 12525118 h 74"/>
              <a:gd name="T10" fmla="*/ 9299258 w 60"/>
              <a:gd name="T11" fmla="*/ 18489570 h 74"/>
              <a:gd name="T12" fmla="*/ 8392001 w 60"/>
              <a:gd name="T13" fmla="*/ 25050235 h 74"/>
              <a:gd name="T14" fmla="*/ 7938611 w 60"/>
              <a:gd name="T15" fmla="*/ 28032847 h 74"/>
              <a:gd name="T16" fmla="*/ 7258050 w 60"/>
              <a:gd name="T17" fmla="*/ 30418474 h 74"/>
              <a:gd name="T18" fmla="*/ 6577489 w 60"/>
              <a:gd name="T19" fmla="*/ 33401086 h 74"/>
              <a:gd name="T20" fmla="*/ 5670233 w 60"/>
              <a:gd name="T21" fmla="*/ 35786712 h 74"/>
              <a:gd name="T22" fmla="*/ 4536281 w 60"/>
              <a:gd name="T23" fmla="*/ 38768552 h 74"/>
              <a:gd name="T24" fmla="*/ 3402330 w 60"/>
              <a:gd name="T25" fmla="*/ 41154951 h 74"/>
              <a:gd name="T26" fmla="*/ 1814513 w 60"/>
              <a:gd name="T27" fmla="*/ 42943591 h 74"/>
              <a:gd name="T28" fmla="*/ 0 w 60"/>
              <a:gd name="T29" fmla="*/ 44136791 h 74"/>
              <a:gd name="T30" fmla="*/ 1133951 w 60"/>
              <a:gd name="T31" fmla="*/ 35786712 h 74"/>
              <a:gd name="T32" fmla="*/ 2721769 w 60"/>
              <a:gd name="T33" fmla="*/ 28032847 h 74"/>
              <a:gd name="T34" fmla="*/ 4309586 w 60"/>
              <a:gd name="T35" fmla="*/ 20278982 h 74"/>
              <a:gd name="T36" fmla="*/ 6124099 w 60"/>
              <a:gd name="T37" fmla="*/ 13718317 h 74"/>
              <a:gd name="T38" fmla="*/ 8165306 w 60"/>
              <a:gd name="T39" fmla="*/ 8350078 h 74"/>
              <a:gd name="T40" fmla="*/ 9753124 w 60"/>
              <a:gd name="T41" fmla="*/ 3578826 h 74"/>
              <a:gd name="T42" fmla="*/ 10887075 w 60"/>
              <a:gd name="T43" fmla="*/ 1789413 h 74"/>
              <a:gd name="T44" fmla="*/ 11794331 w 60"/>
              <a:gd name="T45" fmla="*/ 596214 h 74"/>
              <a:gd name="T46" fmla="*/ 12701588 w 60"/>
              <a:gd name="T47" fmla="*/ 0 h 74"/>
              <a:gd name="T48" fmla="*/ 13608844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885657" y="5322732"/>
            <a:ext cx="23812" cy="60325"/>
          </a:xfrm>
          <a:custGeom>
            <a:avLst/>
            <a:gdLst>
              <a:gd name="T0" fmla="*/ 3336720 w 47"/>
              <a:gd name="T1" fmla="*/ 14376118 h 45"/>
              <a:gd name="T2" fmla="*/ 5646990 w 47"/>
              <a:gd name="T3" fmla="*/ 14376118 h 45"/>
              <a:gd name="T4" fmla="*/ 7187171 w 47"/>
              <a:gd name="T5" fmla="*/ 10782088 h 45"/>
              <a:gd name="T6" fmla="*/ 8213620 w 47"/>
              <a:gd name="T7" fmla="*/ 8985744 h 45"/>
              <a:gd name="T8" fmla="*/ 8983710 w 47"/>
              <a:gd name="T9" fmla="*/ 5391714 h 45"/>
              <a:gd name="T10" fmla="*/ 9497442 w 47"/>
              <a:gd name="T11" fmla="*/ 1797685 h 45"/>
              <a:gd name="T12" fmla="*/ 10010666 w 47"/>
              <a:gd name="T13" fmla="*/ 0 h 45"/>
              <a:gd name="T14" fmla="*/ 11037115 w 47"/>
              <a:gd name="T15" fmla="*/ 1797685 h 45"/>
              <a:gd name="T16" fmla="*/ 12064071 w 47"/>
              <a:gd name="T17" fmla="*/ 3594029 h 45"/>
              <a:gd name="T18" fmla="*/ 11807206 w 47"/>
              <a:gd name="T19" fmla="*/ 12579773 h 45"/>
              <a:gd name="T20" fmla="*/ 11807206 w 47"/>
              <a:gd name="T21" fmla="*/ 19767832 h 45"/>
              <a:gd name="T22" fmla="*/ 11293981 w 47"/>
              <a:gd name="T23" fmla="*/ 26955891 h 45"/>
              <a:gd name="T24" fmla="*/ 11037115 w 47"/>
              <a:gd name="T25" fmla="*/ 34145291 h 45"/>
              <a:gd name="T26" fmla="*/ 9497442 w 47"/>
              <a:gd name="T27" fmla="*/ 46723723 h 45"/>
              <a:gd name="T28" fmla="*/ 7700395 w 47"/>
              <a:gd name="T29" fmla="*/ 57507152 h 45"/>
              <a:gd name="T30" fmla="*/ 6160215 w 47"/>
              <a:gd name="T31" fmla="*/ 68289241 h 45"/>
              <a:gd name="T32" fmla="*/ 4106810 w 47"/>
              <a:gd name="T33" fmla="*/ 75477299 h 45"/>
              <a:gd name="T34" fmla="*/ 1796539 w 47"/>
              <a:gd name="T35" fmla="*/ 80869014 h 45"/>
              <a:gd name="T36" fmla="*/ 0 w 47"/>
              <a:gd name="T37" fmla="*/ 80869014 h 45"/>
              <a:gd name="T38" fmla="*/ 513225 w 47"/>
              <a:gd name="T39" fmla="*/ 68289241 h 45"/>
              <a:gd name="T40" fmla="*/ 1540180 w 47"/>
              <a:gd name="T41" fmla="*/ 46723723 h 45"/>
              <a:gd name="T42" fmla="*/ 2823495 w 47"/>
              <a:gd name="T43" fmla="*/ 26955891 h 45"/>
              <a:gd name="T44" fmla="*/ 3336720 w 47"/>
              <a:gd name="T45" fmla="*/ 14376118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860257" y="5316382"/>
            <a:ext cx="6350" cy="57150"/>
          </a:xfrm>
          <a:custGeom>
            <a:avLst/>
            <a:gdLst>
              <a:gd name="T0" fmla="*/ 357798 w 26"/>
              <a:gd name="T1" fmla="*/ 90725625 h 36"/>
              <a:gd name="T2" fmla="*/ 298206 w 26"/>
              <a:gd name="T3" fmla="*/ 75604688 h 36"/>
              <a:gd name="T4" fmla="*/ 179021 w 26"/>
              <a:gd name="T5" fmla="*/ 50403125 h 36"/>
              <a:gd name="T6" fmla="*/ 59592 w 26"/>
              <a:gd name="T7" fmla="*/ 25201563 h 36"/>
              <a:gd name="T8" fmla="*/ 0 w 26"/>
              <a:gd name="T9" fmla="*/ 0 h 36"/>
              <a:gd name="T10" fmla="*/ 1550865 w 26"/>
              <a:gd name="T11" fmla="*/ 0 h 36"/>
              <a:gd name="T12" fmla="*/ 1491273 w 26"/>
              <a:gd name="T13" fmla="*/ 30241875 h 36"/>
              <a:gd name="T14" fmla="*/ 1431681 w 26"/>
              <a:gd name="T15" fmla="*/ 57964388 h 36"/>
              <a:gd name="T16" fmla="*/ 1371844 w 26"/>
              <a:gd name="T17" fmla="*/ 68045013 h 36"/>
              <a:gd name="T18" fmla="*/ 1371844 w 26"/>
              <a:gd name="T19" fmla="*/ 78125638 h 36"/>
              <a:gd name="T20" fmla="*/ 1431681 w 26"/>
              <a:gd name="T21" fmla="*/ 85685313 h 36"/>
              <a:gd name="T22" fmla="*/ 1550865 w 26"/>
              <a:gd name="T23" fmla="*/ 90725625 h 36"/>
              <a:gd name="T24" fmla="*/ 357798 w 26"/>
              <a:gd name="T25" fmla="*/ 90725625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131844" y="5044919"/>
            <a:ext cx="174625" cy="158750"/>
          </a:xfrm>
          <a:custGeom>
            <a:avLst/>
            <a:gdLst>
              <a:gd name="T0" fmla="*/ 4833448 w 405"/>
              <a:gd name="T1" fmla="*/ 44763820 h 302"/>
              <a:gd name="T2" fmla="*/ 5205550 w 405"/>
              <a:gd name="T3" fmla="*/ 43105882 h 302"/>
              <a:gd name="T4" fmla="*/ 5577221 w 405"/>
              <a:gd name="T5" fmla="*/ 42553411 h 302"/>
              <a:gd name="T6" fmla="*/ 5205550 w 405"/>
              <a:gd name="T7" fmla="*/ 41724441 h 302"/>
              <a:gd name="T8" fmla="*/ 3346332 w 405"/>
              <a:gd name="T9" fmla="*/ 39514031 h 302"/>
              <a:gd name="T10" fmla="*/ 1115444 w 405"/>
              <a:gd name="T11" fmla="*/ 35092686 h 302"/>
              <a:gd name="T12" fmla="*/ 371671 w 405"/>
              <a:gd name="T13" fmla="*/ 32053307 h 302"/>
              <a:gd name="T14" fmla="*/ 929609 w 405"/>
              <a:gd name="T15" fmla="*/ 30947839 h 302"/>
              <a:gd name="T16" fmla="*/ 1115444 w 405"/>
              <a:gd name="T17" fmla="*/ 28737430 h 302"/>
              <a:gd name="T18" fmla="*/ 3160497 w 405"/>
              <a:gd name="T19" fmla="*/ 26802993 h 302"/>
              <a:gd name="T20" fmla="*/ 6320994 w 405"/>
              <a:gd name="T21" fmla="*/ 25698050 h 302"/>
              <a:gd name="T22" fmla="*/ 8737718 w 405"/>
              <a:gd name="T23" fmla="*/ 24316084 h 302"/>
              <a:gd name="T24" fmla="*/ 10596935 w 405"/>
              <a:gd name="T25" fmla="*/ 22658146 h 302"/>
              <a:gd name="T26" fmla="*/ 12456152 w 405"/>
              <a:gd name="T27" fmla="*/ 19342268 h 302"/>
              <a:gd name="T28" fmla="*/ 13943267 w 405"/>
              <a:gd name="T29" fmla="*/ 14368452 h 302"/>
              <a:gd name="T30" fmla="*/ 15616649 w 405"/>
              <a:gd name="T31" fmla="*/ 12987012 h 302"/>
              <a:gd name="T32" fmla="*/ 17661271 w 405"/>
              <a:gd name="T33" fmla="*/ 14368452 h 302"/>
              <a:gd name="T34" fmla="*/ 21751376 w 405"/>
              <a:gd name="T35" fmla="*/ 14921449 h 302"/>
              <a:gd name="T36" fmla="*/ 31418702 w 405"/>
              <a:gd name="T37" fmla="*/ 12710513 h 302"/>
              <a:gd name="T38" fmla="*/ 39413078 w 405"/>
              <a:gd name="T39" fmla="*/ 11881544 h 302"/>
              <a:gd name="T40" fmla="*/ 43502752 w 405"/>
              <a:gd name="T41" fmla="*/ 11329073 h 302"/>
              <a:gd name="T42" fmla="*/ 49080404 w 405"/>
              <a:gd name="T43" fmla="*/ 9671134 h 302"/>
              <a:gd name="T44" fmla="*/ 59119402 w 405"/>
              <a:gd name="T45" fmla="*/ 4697318 h 302"/>
              <a:gd name="T46" fmla="*/ 66741675 w 405"/>
              <a:gd name="T47" fmla="*/ 1105468 h 302"/>
              <a:gd name="T48" fmla="*/ 69158399 w 405"/>
              <a:gd name="T49" fmla="*/ 828969 h 302"/>
              <a:gd name="T50" fmla="*/ 71575554 w 405"/>
              <a:gd name="T51" fmla="*/ 828969 h 302"/>
              <a:gd name="T52" fmla="*/ 73992277 w 405"/>
              <a:gd name="T53" fmla="*/ 276498 h 302"/>
              <a:gd name="T54" fmla="*/ 73434340 w 405"/>
              <a:gd name="T55" fmla="*/ 2210410 h 302"/>
              <a:gd name="T56" fmla="*/ 66927510 w 405"/>
              <a:gd name="T57" fmla="*/ 11329073 h 302"/>
              <a:gd name="T58" fmla="*/ 63952849 w 405"/>
              <a:gd name="T59" fmla="*/ 15750418 h 302"/>
              <a:gd name="T60" fmla="*/ 63023672 w 405"/>
              <a:gd name="T61" fmla="*/ 17684329 h 302"/>
              <a:gd name="T62" fmla="*/ 63023672 w 405"/>
              <a:gd name="T63" fmla="*/ 26527020 h 302"/>
              <a:gd name="T64" fmla="*/ 62651569 w 405"/>
              <a:gd name="T65" fmla="*/ 41171970 h 302"/>
              <a:gd name="T66" fmla="*/ 62279898 w 405"/>
              <a:gd name="T67" fmla="*/ 49737637 h 302"/>
              <a:gd name="T68" fmla="*/ 60606517 w 405"/>
              <a:gd name="T69" fmla="*/ 54711453 h 302"/>
              <a:gd name="T70" fmla="*/ 56702678 w 405"/>
              <a:gd name="T71" fmla="*/ 58027330 h 302"/>
              <a:gd name="T72" fmla="*/ 49266240 w 405"/>
              <a:gd name="T73" fmla="*/ 62724648 h 302"/>
              <a:gd name="T74" fmla="*/ 19706323 w 405"/>
              <a:gd name="T75" fmla="*/ 83448882 h 302"/>
              <a:gd name="T76" fmla="*/ 10596935 w 405"/>
              <a:gd name="T77" fmla="*/ 71843311 h 302"/>
              <a:gd name="T78" fmla="*/ 13013659 w 405"/>
              <a:gd name="T79" fmla="*/ 63001147 h 302"/>
              <a:gd name="T80" fmla="*/ 15058711 w 405"/>
              <a:gd name="T81" fmla="*/ 57750832 h 302"/>
              <a:gd name="T82" fmla="*/ 15988320 w 405"/>
              <a:gd name="T83" fmla="*/ 47527227 h 302"/>
              <a:gd name="T84" fmla="*/ 13199494 w 405"/>
              <a:gd name="T85" fmla="*/ 47803725 h 302"/>
              <a:gd name="T86" fmla="*/ 10596935 w 405"/>
              <a:gd name="T87" fmla="*/ 46698257 h 302"/>
              <a:gd name="T88" fmla="*/ 7622273 w 405"/>
              <a:gd name="T89" fmla="*/ 45592790 h 302"/>
              <a:gd name="T90" fmla="*/ 4833448 w 405"/>
              <a:gd name="T91" fmla="*/ 45869288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225757" y="5425919"/>
            <a:ext cx="42862" cy="79375"/>
          </a:xfrm>
          <a:custGeom>
            <a:avLst/>
            <a:gdLst>
              <a:gd name="T0" fmla="*/ 18371510 w 100"/>
              <a:gd name="T1" fmla="*/ 262194 h 155"/>
              <a:gd name="T2" fmla="*/ 18371510 w 100"/>
              <a:gd name="T3" fmla="*/ 7867343 h 155"/>
              <a:gd name="T4" fmla="*/ 18371510 w 100"/>
              <a:gd name="T5" fmla="*/ 14423206 h 155"/>
              <a:gd name="T6" fmla="*/ 18371510 w 100"/>
              <a:gd name="T7" fmla="*/ 20455194 h 155"/>
              <a:gd name="T8" fmla="*/ 18371510 w 100"/>
              <a:gd name="T9" fmla="*/ 25962282 h 155"/>
              <a:gd name="T10" fmla="*/ 18004183 w 100"/>
              <a:gd name="T11" fmla="*/ 28584730 h 155"/>
              <a:gd name="T12" fmla="*/ 17269100 w 100"/>
              <a:gd name="T13" fmla="*/ 30944472 h 155"/>
              <a:gd name="T14" fmla="*/ 16350567 w 100"/>
              <a:gd name="T15" fmla="*/ 33566919 h 155"/>
              <a:gd name="T16" fmla="*/ 15064707 w 100"/>
              <a:gd name="T17" fmla="*/ 35927173 h 155"/>
              <a:gd name="T18" fmla="*/ 13411091 w 100"/>
              <a:gd name="T19" fmla="*/ 37763040 h 155"/>
              <a:gd name="T20" fmla="*/ 11390148 w 100"/>
              <a:gd name="T21" fmla="*/ 39336714 h 155"/>
              <a:gd name="T22" fmla="*/ 10471615 w 100"/>
              <a:gd name="T23" fmla="*/ 39861101 h 155"/>
              <a:gd name="T24" fmla="*/ 9369633 w 100"/>
              <a:gd name="T25" fmla="*/ 40385488 h 155"/>
              <a:gd name="T26" fmla="*/ 8451101 w 100"/>
              <a:gd name="T27" fmla="*/ 40647681 h 155"/>
              <a:gd name="T28" fmla="*/ 7164812 w 100"/>
              <a:gd name="T29" fmla="*/ 40647681 h 155"/>
              <a:gd name="T30" fmla="*/ 6430157 w 100"/>
              <a:gd name="T31" fmla="*/ 40385488 h 155"/>
              <a:gd name="T32" fmla="*/ 5511625 w 100"/>
              <a:gd name="T33" fmla="*/ 40123294 h 155"/>
              <a:gd name="T34" fmla="*/ 4776541 w 100"/>
              <a:gd name="T35" fmla="*/ 39598907 h 155"/>
              <a:gd name="T36" fmla="*/ 4041887 w 100"/>
              <a:gd name="T37" fmla="*/ 39074008 h 155"/>
              <a:gd name="T38" fmla="*/ 2755598 w 100"/>
              <a:gd name="T39" fmla="*/ 37238653 h 155"/>
              <a:gd name="T40" fmla="*/ 1653616 w 100"/>
              <a:gd name="T41" fmla="*/ 35140593 h 155"/>
              <a:gd name="T42" fmla="*/ 918533 w 100"/>
              <a:gd name="T43" fmla="*/ 32518145 h 155"/>
              <a:gd name="T44" fmla="*/ 367327 w 100"/>
              <a:gd name="T45" fmla="*/ 29633504 h 155"/>
              <a:gd name="T46" fmla="*/ 0 w 100"/>
              <a:gd name="T47" fmla="*/ 27011056 h 155"/>
              <a:gd name="T48" fmla="*/ 0 w 100"/>
              <a:gd name="T49" fmla="*/ 24388609 h 155"/>
              <a:gd name="T50" fmla="*/ 0 w 100"/>
              <a:gd name="T51" fmla="*/ 20192488 h 155"/>
              <a:gd name="T52" fmla="*/ 0 w 100"/>
              <a:gd name="T53" fmla="*/ 17045653 h 155"/>
              <a:gd name="T54" fmla="*/ 0 w 100"/>
              <a:gd name="T55" fmla="*/ 14685399 h 155"/>
              <a:gd name="T56" fmla="*/ 0 w 100"/>
              <a:gd name="T57" fmla="*/ 13112238 h 155"/>
              <a:gd name="T58" fmla="*/ 2755598 w 100"/>
              <a:gd name="T59" fmla="*/ 13112238 h 155"/>
              <a:gd name="T60" fmla="*/ 4776541 w 100"/>
              <a:gd name="T61" fmla="*/ 13112238 h 155"/>
              <a:gd name="T62" fmla="*/ 4776541 w 100"/>
              <a:gd name="T63" fmla="*/ 10489790 h 155"/>
              <a:gd name="T64" fmla="*/ 4960419 w 100"/>
              <a:gd name="T65" fmla="*/ 8129536 h 155"/>
              <a:gd name="T66" fmla="*/ 5327747 w 100"/>
              <a:gd name="T67" fmla="*/ 6031476 h 155"/>
              <a:gd name="T68" fmla="*/ 5695074 w 100"/>
              <a:gd name="T69" fmla="*/ 4458315 h 155"/>
              <a:gd name="T70" fmla="*/ 6430157 w 100"/>
              <a:gd name="T71" fmla="*/ 3146835 h 155"/>
              <a:gd name="T72" fmla="*/ 7164812 w 100"/>
              <a:gd name="T73" fmla="*/ 1835867 h 155"/>
              <a:gd name="T74" fmla="*/ 7716017 w 100"/>
              <a:gd name="T75" fmla="*/ 1048774 h 155"/>
              <a:gd name="T76" fmla="*/ 8818428 w 100"/>
              <a:gd name="T77" fmla="*/ 524387 h 155"/>
              <a:gd name="T78" fmla="*/ 10839371 w 100"/>
              <a:gd name="T79" fmla="*/ 0 h 155"/>
              <a:gd name="T80" fmla="*/ 13043764 w 100"/>
              <a:gd name="T81" fmla="*/ 0 h 155"/>
              <a:gd name="T82" fmla="*/ 15432034 w 100"/>
              <a:gd name="T83" fmla="*/ 0 h 155"/>
              <a:gd name="T84" fmla="*/ 18371510 w 100"/>
              <a:gd name="T85" fmla="*/ 262194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59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873082" y="4894107"/>
            <a:ext cx="482600" cy="201612"/>
            <a:chOff x="3289" y="1830"/>
            <a:chExt cx="363" cy="128"/>
          </a:xfrm>
          <a:solidFill>
            <a:srgbClr val="3C5C4F"/>
          </a:solidFill>
        </p:grpSpPr>
        <p:sp>
          <p:nvSpPr>
            <p:cNvPr id="59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9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861719" y="6046632"/>
            <a:ext cx="100013" cy="122237"/>
          </a:xfrm>
          <a:custGeom>
            <a:avLst/>
            <a:gdLst>
              <a:gd name="T0" fmla="*/ 12337887 w 226"/>
              <a:gd name="T1" fmla="*/ 62779789 h 237"/>
              <a:gd name="T2" fmla="*/ 13316775 w 226"/>
              <a:gd name="T3" fmla="*/ 63045925 h 237"/>
              <a:gd name="T4" fmla="*/ 14687750 w 226"/>
              <a:gd name="T5" fmla="*/ 62513652 h 237"/>
              <a:gd name="T6" fmla="*/ 16254325 w 226"/>
              <a:gd name="T7" fmla="*/ 62248032 h 237"/>
              <a:gd name="T8" fmla="*/ 17429699 w 226"/>
              <a:gd name="T9" fmla="*/ 61184003 h 237"/>
              <a:gd name="T10" fmla="*/ 18800231 w 226"/>
              <a:gd name="T11" fmla="*/ 59321565 h 237"/>
              <a:gd name="T12" fmla="*/ 19387918 w 226"/>
              <a:gd name="T13" fmla="*/ 56927370 h 237"/>
              <a:gd name="T14" fmla="*/ 24088087 w 226"/>
              <a:gd name="T15" fmla="*/ 55597204 h 237"/>
              <a:gd name="T16" fmla="*/ 32509093 w 226"/>
              <a:gd name="T17" fmla="*/ 54533175 h 237"/>
              <a:gd name="T18" fmla="*/ 38188150 w 226"/>
              <a:gd name="T19" fmla="*/ 52671253 h 237"/>
              <a:gd name="T20" fmla="*/ 40930099 w 226"/>
              <a:gd name="T21" fmla="*/ 50809331 h 237"/>
              <a:gd name="T22" fmla="*/ 43084361 w 226"/>
              <a:gd name="T23" fmla="*/ 48149000 h 237"/>
              <a:gd name="T24" fmla="*/ 44063250 w 226"/>
              <a:gd name="T25" fmla="*/ 44690776 h 237"/>
              <a:gd name="T26" fmla="*/ 44259293 w 226"/>
              <a:gd name="T27" fmla="*/ 40700279 h 237"/>
              <a:gd name="T28" fmla="*/ 43671606 w 226"/>
              <a:gd name="T29" fmla="*/ 37242571 h 237"/>
              <a:gd name="T30" fmla="*/ 42105030 w 226"/>
              <a:gd name="T31" fmla="*/ 32719802 h 237"/>
              <a:gd name="T32" fmla="*/ 39755168 w 226"/>
              <a:gd name="T33" fmla="*/ 26601763 h 237"/>
              <a:gd name="T34" fmla="*/ 38384193 w 226"/>
              <a:gd name="T35" fmla="*/ 22345646 h 237"/>
              <a:gd name="T36" fmla="*/ 37796506 w 226"/>
              <a:gd name="T37" fmla="*/ 19685315 h 237"/>
              <a:gd name="T38" fmla="*/ 38188150 w 226"/>
              <a:gd name="T39" fmla="*/ 15694818 h 237"/>
              <a:gd name="T40" fmla="*/ 39167480 w 226"/>
              <a:gd name="T41" fmla="*/ 11438701 h 237"/>
              <a:gd name="T42" fmla="*/ 41713387 w 226"/>
              <a:gd name="T43" fmla="*/ 6650312 h 237"/>
              <a:gd name="T44" fmla="*/ 41713387 w 226"/>
              <a:gd name="T45" fmla="*/ 3724360 h 237"/>
              <a:gd name="T46" fmla="*/ 37404862 w 226"/>
              <a:gd name="T47" fmla="*/ 1861922 h 237"/>
              <a:gd name="T48" fmla="*/ 30158787 w 226"/>
              <a:gd name="T49" fmla="*/ 532273 h 237"/>
              <a:gd name="T50" fmla="*/ 3916881 w 226"/>
              <a:gd name="T51" fmla="*/ 1596302 h 237"/>
              <a:gd name="T52" fmla="*/ 3525237 w 226"/>
              <a:gd name="T53" fmla="*/ 8246613 h 237"/>
              <a:gd name="T54" fmla="*/ 1958219 w 226"/>
              <a:gd name="T55" fmla="*/ 14364653 h 237"/>
              <a:gd name="T56" fmla="*/ 587687 w 226"/>
              <a:gd name="T57" fmla="*/ 21015480 h 237"/>
              <a:gd name="T58" fmla="*/ 0 w 226"/>
              <a:gd name="T59" fmla="*/ 29527714 h 237"/>
              <a:gd name="T60" fmla="*/ 587687 w 226"/>
              <a:gd name="T61" fmla="*/ 34582240 h 237"/>
              <a:gd name="T62" fmla="*/ 1958219 w 226"/>
              <a:gd name="T63" fmla="*/ 38838357 h 237"/>
              <a:gd name="T64" fmla="*/ 5875100 w 226"/>
              <a:gd name="T65" fmla="*/ 46020941 h 237"/>
              <a:gd name="T66" fmla="*/ 9987581 w 226"/>
              <a:gd name="T67" fmla="*/ 52937389 h 237"/>
              <a:gd name="T68" fmla="*/ 11162955 w 226"/>
              <a:gd name="T69" fmla="*/ 57459642 h 237"/>
              <a:gd name="T70" fmla="*/ 11946243 w 226"/>
              <a:gd name="T71" fmla="*/ 62248032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806657" y="5483069"/>
            <a:ext cx="207962" cy="458788"/>
          </a:xfrm>
          <a:custGeom>
            <a:avLst/>
            <a:gdLst>
              <a:gd name="T0" fmla="*/ 54324199 w 478"/>
              <a:gd name="T1" fmla="*/ 29966459 h 875"/>
              <a:gd name="T2" fmla="*/ 47320926 w 478"/>
              <a:gd name="T3" fmla="*/ 37938884 h 875"/>
              <a:gd name="T4" fmla="*/ 37667226 w 478"/>
              <a:gd name="T5" fmla="*/ 54159530 h 875"/>
              <a:gd name="T6" fmla="*/ 37477972 w 478"/>
              <a:gd name="T7" fmla="*/ 58558127 h 875"/>
              <a:gd name="T8" fmla="*/ 38992440 w 478"/>
              <a:gd name="T9" fmla="*/ 65706307 h 875"/>
              <a:gd name="T10" fmla="*/ 41831687 w 478"/>
              <a:gd name="T11" fmla="*/ 72853961 h 875"/>
              <a:gd name="T12" fmla="*/ 45427950 w 478"/>
              <a:gd name="T13" fmla="*/ 79177371 h 875"/>
              <a:gd name="T14" fmla="*/ 49024214 w 478"/>
              <a:gd name="T15" fmla="*/ 82751198 h 875"/>
              <a:gd name="T16" fmla="*/ 52810166 w 478"/>
              <a:gd name="T17" fmla="*/ 90448874 h 875"/>
              <a:gd name="T18" fmla="*/ 55838667 w 478"/>
              <a:gd name="T19" fmla="*/ 99246593 h 875"/>
              <a:gd name="T20" fmla="*/ 57731208 w 478"/>
              <a:gd name="T21" fmla="*/ 101445630 h 875"/>
              <a:gd name="T22" fmla="*/ 82905922 w 478"/>
              <a:gd name="T23" fmla="*/ 137185477 h 875"/>
              <a:gd name="T24" fmla="*/ 89152613 w 478"/>
              <a:gd name="T25" fmla="*/ 161928569 h 875"/>
              <a:gd name="T26" fmla="*/ 90477392 w 478"/>
              <a:gd name="T27" fmla="*/ 177873943 h 875"/>
              <a:gd name="T28" fmla="*/ 90098884 w 478"/>
              <a:gd name="T29" fmla="*/ 188870698 h 875"/>
              <a:gd name="T30" fmla="*/ 90477392 w 478"/>
              <a:gd name="T31" fmla="*/ 194644086 h 875"/>
              <a:gd name="T32" fmla="*/ 84609644 w 478"/>
              <a:gd name="T33" fmla="*/ 197393144 h 875"/>
              <a:gd name="T34" fmla="*/ 79498913 w 478"/>
              <a:gd name="T35" fmla="*/ 201516992 h 875"/>
              <a:gd name="T36" fmla="*/ 74009673 w 478"/>
              <a:gd name="T37" fmla="*/ 207840402 h 875"/>
              <a:gd name="T38" fmla="*/ 69088196 w 478"/>
              <a:gd name="T39" fmla="*/ 216912869 h 875"/>
              <a:gd name="T40" fmla="*/ 65870441 w 478"/>
              <a:gd name="T41" fmla="*/ 215812827 h 875"/>
              <a:gd name="T42" fmla="*/ 60381201 w 478"/>
              <a:gd name="T43" fmla="*/ 216912869 h 875"/>
              <a:gd name="T44" fmla="*/ 59245676 w 478"/>
              <a:gd name="T45" fmla="*/ 221036718 h 875"/>
              <a:gd name="T46" fmla="*/ 54702707 w 478"/>
              <a:gd name="T47" fmla="*/ 230383933 h 875"/>
              <a:gd name="T48" fmla="*/ 48456451 w 478"/>
              <a:gd name="T49" fmla="*/ 238631631 h 875"/>
              <a:gd name="T50" fmla="*/ 45238696 w 478"/>
              <a:gd name="T51" fmla="*/ 240555919 h 875"/>
              <a:gd name="T52" fmla="*/ 43913917 w 478"/>
              <a:gd name="T53" fmla="*/ 238631631 h 875"/>
              <a:gd name="T54" fmla="*/ 42588703 w 478"/>
              <a:gd name="T55" fmla="*/ 232033473 h 875"/>
              <a:gd name="T56" fmla="*/ 43724228 w 478"/>
              <a:gd name="T57" fmla="*/ 219936675 h 875"/>
              <a:gd name="T58" fmla="*/ 47888689 w 478"/>
              <a:gd name="T59" fmla="*/ 213063769 h 875"/>
              <a:gd name="T60" fmla="*/ 52431658 w 478"/>
              <a:gd name="T61" fmla="*/ 208939920 h 875"/>
              <a:gd name="T62" fmla="*/ 55838667 w 478"/>
              <a:gd name="T63" fmla="*/ 207015632 h 875"/>
              <a:gd name="T64" fmla="*/ 57731208 w 478"/>
              <a:gd name="T65" fmla="*/ 204266574 h 875"/>
              <a:gd name="T66" fmla="*/ 59434931 w 478"/>
              <a:gd name="T67" fmla="*/ 196293626 h 875"/>
              <a:gd name="T68" fmla="*/ 62463432 w 478"/>
              <a:gd name="T69" fmla="*/ 188595949 h 875"/>
              <a:gd name="T70" fmla="*/ 69088196 w 478"/>
              <a:gd name="T71" fmla="*/ 176774425 h 875"/>
              <a:gd name="T72" fmla="*/ 70224156 w 478"/>
              <a:gd name="T73" fmla="*/ 147357462 h 875"/>
              <a:gd name="T74" fmla="*/ 68898942 w 478"/>
              <a:gd name="T75" fmla="*/ 130587319 h 875"/>
              <a:gd name="T76" fmla="*/ 64545662 w 478"/>
              <a:gd name="T77" fmla="*/ 117391527 h 875"/>
              <a:gd name="T78" fmla="*/ 56217175 w 478"/>
              <a:gd name="T79" fmla="*/ 103645190 h 875"/>
              <a:gd name="T80" fmla="*/ 41453179 w 478"/>
              <a:gd name="T81" fmla="*/ 84675486 h 875"/>
              <a:gd name="T82" fmla="*/ 30474699 w 478"/>
              <a:gd name="T83" fmla="*/ 70104904 h 875"/>
              <a:gd name="T84" fmla="*/ 20442491 w 478"/>
              <a:gd name="T85" fmla="*/ 54434279 h 875"/>
              <a:gd name="T86" fmla="*/ 13628472 w 478"/>
              <a:gd name="T87" fmla="*/ 40138445 h 875"/>
              <a:gd name="T88" fmla="*/ 7949978 w 478"/>
              <a:gd name="T89" fmla="*/ 28591668 h 875"/>
              <a:gd name="T90" fmla="*/ 8706995 w 478"/>
              <a:gd name="T91" fmla="*/ 11271504 h 875"/>
              <a:gd name="T92" fmla="*/ 24417697 w 478"/>
              <a:gd name="T93" fmla="*/ 5223367 h 875"/>
              <a:gd name="T94" fmla="*/ 28013961 w 478"/>
              <a:gd name="T95" fmla="*/ 1374791 h 875"/>
              <a:gd name="T96" fmla="*/ 33124692 w 478"/>
              <a:gd name="T97" fmla="*/ 4398597 h 875"/>
              <a:gd name="T98" fmla="*/ 41831687 w 478"/>
              <a:gd name="T99" fmla="*/ 9622488 h 875"/>
              <a:gd name="T100" fmla="*/ 50917190 w 478"/>
              <a:gd name="T101" fmla="*/ 18419683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893969" y="6168869"/>
            <a:ext cx="25400" cy="57150"/>
          </a:xfrm>
          <a:custGeom>
            <a:avLst/>
            <a:gdLst>
              <a:gd name="T0" fmla="*/ 10934915 w 59"/>
              <a:gd name="T1" fmla="*/ 20391489 h 31"/>
              <a:gd name="T2" fmla="*/ 10564247 w 59"/>
              <a:gd name="T3" fmla="*/ 37385318 h 31"/>
              <a:gd name="T4" fmla="*/ 9822912 w 59"/>
              <a:gd name="T5" fmla="*/ 50979644 h 31"/>
              <a:gd name="T6" fmla="*/ 9081576 w 59"/>
              <a:gd name="T7" fmla="*/ 64573969 h 31"/>
              <a:gd name="T8" fmla="*/ 8340241 w 59"/>
              <a:gd name="T9" fmla="*/ 81567798 h 31"/>
              <a:gd name="T10" fmla="*/ 7413356 w 59"/>
              <a:gd name="T11" fmla="*/ 91764465 h 31"/>
              <a:gd name="T12" fmla="*/ 6672020 w 59"/>
              <a:gd name="T13" fmla="*/ 98561627 h 31"/>
              <a:gd name="T14" fmla="*/ 5560017 w 59"/>
              <a:gd name="T15" fmla="*/ 105358790 h 31"/>
              <a:gd name="T16" fmla="*/ 4818681 w 59"/>
              <a:gd name="T17" fmla="*/ 105358790 h 31"/>
              <a:gd name="T18" fmla="*/ 3892227 w 59"/>
              <a:gd name="T19" fmla="*/ 105358790 h 31"/>
              <a:gd name="T20" fmla="*/ 3150892 w 59"/>
              <a:gd name="T21" fmla="*/ 101959287 h 31"/>
              <a:gd name="T22" fmla="*/ 2594675 w 59"/>
              <a:gd name="T23" fmla="*/ 98561627 h 31"/>
              <a:gd name="T24" fmla="*/ 2038888 w 59"/>
              <a:gd name="T25" fmla="*/ 91764465 h 31"/>
              <a:gd name="T26" fmla="*/ 741336 w 59"/>
              <a:gd name="T27" fmla="*/ 67973473 h 31"/>
              <a:gd name="T28" fmla="*/ 0 w 59"/>
              <a:gd name="T29" fmla="*/ 40784821 h 31"/>
              <a:gd name="T30" fmla="*/ 185549 w 59"/>
              <a:gd name="T31" fmla="*/ 30588155 h 31"/>
              <a:gd name="T32" fmla="*/ 556217 w 59"/>
              <a:gd name="T33" fmla="*/ 20391489 h 31"/>
              <a:gd name="T34" fmla="*/ 926885 w 59"/>
              <a:gd name="T35" fmla="*/ 13594326 h 31"/>
              <a:gd name="T36" fmla="*/ 1482671 w 59"/>
              <a:gd name="T37" fmla="*/ 10196666 h 31"/>
              <a:gd name="T38" fmla="*/ 2965342 w 59"/>
              <a:gd name="T39" fmla="*/ 3399503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797163 h 31"/>
              <a:gd name="T46" fmla="*/ 9452244 w 59"/>
              <a:gd name="T47" fmla="*/ 13594326 h 31"/>
              <a:gd name="T48" fmla="*/ 10934915 w 59"/>
              <a:gd name="T49" fmla="*/ 20391489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585869" y="5427507"/>
            <a:ext cx="174625" cy="271462"/>
          </a:xfrm>
          <a:custGeom>
            <a:avLst/>
            <a:gdLst>
              <a:gd name="T0" fmla="*/ 38308523 w 399"/>
              <a:gd name="T1" fmla="*/ 2196851 h 518"/>
              <a:gd name="T2" fmla="*/ 38691911 w 399"/>
              <a:gd name="T3" fmla="*/ 6041864 h 518"/>
              <a:gd name="T4" fmla="*/ 39841197 w 399"/>
              <a:gd name="T5" fmla="*/ 9886877 h 518"/>
              <a:gd name="T6" fmla="*/ 40990483 w 399"/>
              <a:gd name="T7" fmla="*/ 13457283 h 518"/>
              <a:gd name="T8" fmla="*/ 42905669 w 399"/>
              <a:gd name="T9" fmla="*/ 17302296 h 518"/>
              <a:gd name="T10" fmla="*/ 45012548 w 399"/>
              <a:gd name="T11" fmla="*/ 20597572 h 518"/>
              <a:gd name="T12" fmla="*/ 47694508 w 399"/>
              <a:gd name="T13" fmla="*/ 23618766 h 518"/>
              <a:gd name="T14" fmla="*/ 50567286 w 399"/>
              <a:gd name="T15" fmla="*/ 26090747 h 518"/>
              <a:gd name="T16" fmla="*/ 60527476 w 399"/>
              <a:gd name="T17" fmla="*/ 29111417 h 518"/>
              <a:gd name="T18" fmla="*/ 69913460 w 399"/>
              <a:gd name="T19" fmla="*/ 32681824 h 518"/>
              <a:gd name="T20" fmla="*/ 72786676 w 399"/>
              <a:gd name="T21" fmla="*/ 34878675 h 518"/>
              <a:gd name="T22" fmla="*/ 75084811 w 399"/>
              <a:gd name="T23" fmla="*/ 37625262 h 518"/>
              <a:gd name="T24" fmla="*/ 76234097 w 399"/>
              <a:gd name="T25" fmla="*/ 41470275 h 518"/>
              <a:gd name="T26" fmla="*/ 76234097 w 399"/>
              <a:gd name="T27" fmla="*/ 47786745 h 518"/>
              <a:gd name="T28" fmla="*/ 74701862 w 399"/>
              <a:gd name="T29" fmla="*/ 54927558 h 518"/>
              <a:gd name="T30" fmla="*/ 70679359 w 399"/>
              <a:gd name="T31" fmla="*/ 65638254 h 518"/>
              <a:gd name="T32" fmla="*/ 65890958 w 399"/>
              <a:gd name="T33" fmla="*/ 75799737 h 518"/>
              <a:gd name="T34" fmla="*/ 62826049 w 399"/>
              <a:gd name="T35" fmla="*/ 83215156 h 518"/>
              <a:gd name="T36" fmla="*/ 60144526 w 399"/>
              <a:gd name="T37" fmla="*/ 90630052 h 518"/>
              <a:gd name="T38" fmla="*/ 58803984 w 399"/>
              <a:gd name="T39" fmla="*/ 98869290 h 518"/>
              <a:gd name="T40" fmla="*/ 56888361 w 399"/>
              <a:gd name="T41" fmla="*/ 103538122 h 518"/>
              <a:gd name="T42" fmla="*/ 51333623 w 399"/>
              <a:gd name="T43" fmla="*/ 106284186 h 518"/>
              <a:gd name="T44" fmla="*/ 47119865 w 399"/>
              <a:gd name="T45" fmla="*/ 109579986 h 518"/>
              <a:gd name="T46" fmla="*/ 45012548 w 399"/>
              <a:gd name="T47" fmla="*/ 112051967 h 518"/>
              <a:gd name="T48" fmla="*/ 43480312 w 399"/>
              <a:gd name="T49" fmla="*/ 114523424 h 518"/>
              <a:gd name="T50" fmla="*/ 42905669 w 399"/>
              <a:gd name="T51" fmla="*/ 117270012 h 518"/>
              <a:gd name="T52" fmla="*/ 40798790 w 399"/>
              <a:gd name="T53" fmla="*/ 120290682 h 518"/>
              <a:gd name="T54" fmla="*/ 36009951 w 399"/>
              <a:gd name="T55" fmla="*/ 123586482 h 518"/>
              <a:gd name="T56" fmla="*/ 33137173 w 399"/>
              <a:gd name="T57" fmla="*/ 125234120 h 518"/>
              <a:gd name="T58" fmla="*/ 31796193 w 399"/>
              <a:gd name="T59" fmla="*/ 128255314 h 518"/>
              <a:gd name="T60" fmla="*/ 30263957 w 399"/>
              <a:gd name="T61" fmla="*/ 132100327 h 518"/>
              <a:gd name="T62" fmla="*/ 27965384 w 399"/>
              <a:gd name="T63" fmla="*/ 134571784 h 518"/>
              <a:gd name="T64" fmla="*/ 25092168 w 399"/>
              <a:gd name="T65" fmla="*/ 135670733 h 518"/>
              <a:gd name="T66" fmla="*/ 19537430 w 399"/>
              <a:gd name="T67" fmla="*/ 136769159 h 518"/>
              <a:gd name="T68" fmla="*/ 13982692 w 399"/>
              <a:gd name="T69" fmla="*/ 138416797 h 518"/>
              <a:gd name="T70" fmla="*/ 10534833 w 399"/>
              <a:gd name="T71" fmla="*/ 140614172 h 518"/>
              <a:gd name="T72" fmla="*/ 8810904 w 399"/>
              <a:gd name="T73" fmla="*/ 141163384 h 518"/>
              <a:gd name="T74" fmla="*/ 8236260 w 399"/>
              <a:gd name="T75" fmla="*/ 138966010 h 518"/>
              <a:gd name="T76" fmla="*/ 7278668 w 399"/>
              <a:gd name="T77" fmla="*/ 136494552 h 518"/>
              <a:gd name="T78" fmla="*/ 6512331 w 399"/>
              <a:gd name="T79" fmla="*/ 133747965 h 518"/>
              <a:gd name="T80" fmla="*/ 6321075 w 399"/>
              <a:gd name="T81" fmla="*/ 128529920 h 518"/>
              <a:gd name="T82" fmla="*/ 5554738 w 399"/>
              <a:gd name="T83" fmla="*/ 122213450 h 518"/>
              <a:gd name="T84" fmla="*/ 3256165 w 399"/>
              <a:gd name="T85" fmla="*/ 114798031 h 518"/>
              <a:gd name="T86" fmla="*/ 0 w 399"/>
              <a:gd name="T87" fmla="*/ 98320078 h 518"/>
              <a:gd name="T88" fmla="*/ 37159237 w 399"/>
              <a:gd name="T89" fmla="*/ 50807939 h 518"/>
              <a:gd name="T90" fmla="*/ 38308523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312694" y="5481482"/>
            <a:ext cx="376238" cy="385762"/>
          </a:xfrm>
          <a:custGeom>
            <a:avLst/>
            <a:gdLst>
              <a:gd name="T0" fmla="*/ 43601466 w 866"/>
              <a:gd name="T1" fmla="*/ 73373496 h 740"/>
              <a:gd name="T2" fmla="*/ 46243821 w 866"/>
              <a:gd name="T3" fmla="*/ 71742870 h 740"/>
              <a:gd name="T4" fmla="*/ 51340412 w 866"/>
              <a:gd name="T5" fmla="*/ 73917212 h 740"/>
              <a:gd name="T6" fmla="*/ 123443427 w 866"/>
              <a:gd name="T7" fmla="*/ 271597 h 740"/>
              <a:gd name="T8" fmla="*/ 128162043 w 866"/>
              <a:gd name="T9" fmla="*/ 1630626 h 740"/>
              <a:gd name="T10" fmla="*/ 134201835 w 866"/>
              <a:gd name="T11" fmla="*/ 5706671 h 740"/>
              <a:gd name="T12" fmla="*/ 137788261 w 866"/>
              <a:gd name="T13" fmla="*/ 9511640 h 740"/>
              <a:gd name="T14" fmla="*/ 143450947 w 866"/>
              <a:gd name="T15" fmla="*/ 15489908 h 740"/>
              <a:gd name="T16" fmla="*/ 149302187 w 866"/>
              <a:gd name="T17" fmla="*/ 16033624 h 740"/>
              <a:gd name="T18" fmla="*/ 156852145 w 866"/>
              <a:gd name="T19" fmla="*/ 11685461 h 740"/>
              <a:gd name="T20" fmla="*/ 161193654 w 866"/>
              <a:gd name="T21" fmla="*/ 45111217 h 740"/>
              <a:gd name="T22" fmla="*/ 163458467 w 866"/>
              <a:gd name="T23" fmla="*/ 55709246 h 740"/>
              <a:gd name="T24" fmla="*/ 160438571 w 866"/>
              <a:gd name="T25" fmla="*/ 81797704 h 740"/>
              <a:gd name="T26" fmla="*/ 160061029 w 866"/>
              <a:gd name="T27" fmla="*/ 102179492 h 740"/>
              <a:gd name="T28" fmla="*/ 157418240 w 866"/>
              <a:gd name="T29" fmla="*/ 114408147 h 740"/>
              <a:gd name="T30" fmla="*/ 151378447 w 866"/>
              <a:gd name="T31" fmla="*/ 126908921 h 740"/>
              <a:gd name="T32" fmla="*/ 146659832 w 866"/>
              <a:gd name="T33" fmla="*/ 135605248 h 740"/>
              <a:gd name="T34" fmla="*/ 143073406 w 866"/>
              <a:gd name="T35" fmla="*/ 154084290 h 740"/>
              <a:gd name="T36" fmla="*/ 134201835 w 866"/>
              <a:gd name="T37" fmla="*/ 170933227 h 740"/>
              <a:gd name="T38" fmla="*/ 128350596 w 866"/>
              <a:gd name="T39" fmla="*/ 175552988 h 740"/>
              <a:gd name="T40" fmla="*/ 121555720 w 866"/>
              <a:gd name="T41" fmla="*/ 173378646 h 740"/>
              <a:gd name="T42" fmla="*/ 115326939 w 866"/>
              <a:gd name="T43" fmla="*/ 169846317 h 740"/>
              <a:gd name="T44" fmla="*/ 106833345 w 866"/>
              <a:gd name="T45" fmla="*/ 172020138 h 740"/>
              <a:gd name="T46" fmla="*/ 100038035 w 866"/>
              <a:gd name="T47" fmla="*/ 179085838 h 740"/>
              <a:gd name="T48" fmla="*/ 96451609 w 866"/>
              <a:gd name="T49" fmla="*/ 184792509 h 740"/>
              <a:gd name="T50" fmla="*/ 92676630 w 866"/>
              <a:gd name="T51" fmla="*/ 185879420 h 740"/>
              <a:gd name="T52" fmla="*/ 88713097 w 866"/>
              <a:gd name="T53" fmla="*/ 181531256 h 740"/>
              <a:gd name="T54" fmla="*/ 84183035 w 866"/>
              <a:gd name="T55" fmla="*/ 173650764 h 740"/>
              <a:gd name="T56" fmla="*/ 79464420 w 866"/>
              <a:gd name="T57" fmla="*/ 172563854 h 740"/>
              <a:gd name="T58" fmla="*/ 76444089 w 866"/>
              <a:gd name="T59" fmla="*/ 175824585 h 740"/>
              <a:gd name="T60" fmla="*/ 72480556 w 866"/>
              <a:gd name="T61" fmla="*/ 177183614 h 740"/>
              <a:gd name="T62" fmla="*/ 66062788 w 866"/>
              <a:gd name="T63" fmla="*/ 173378646 h 740"/>
              <a:gd name="T64" fmla="*/ 57757746 w 866"/>
              <a:gd name="T65" fmla="*/ 165226035 h 740"/>
              <a:gd name="T66" fmla="*/ 51151424 w 866"/>
              <a:gd name="T67" fmla="*/ 164139125 h 740"/>
              <a:gd name="T68" fmla="*/ 44734090 w 866"/>
              <a:gd name="T69" fmla="*/ 168487288 h 740"/>
              <a:gd name="T70" fmla="*/ 39448945 w 866"/>
              <a:gd name="T71" fmla="*/ 177455212 h 740"/>
              <a:gd name="T72" fmla="*/ 35862520 w 866"/>
              <a:gd name="T73" fmla="*/ 188053762 h 740"/>
              <a:gd name="T74" fmla="*/ 33597706 w 866"/>
              <a:gd name="T75" fmla="*/ 195391059 h 740"/>
              <a:gd name="T76" fmla="*/ 28124008 w 866"/>
              <a:gd name="T77" fmla="*/ 190771299 h 740"/>
              <a:gd name="T78" fmla="*/ 18874896 w 866"/>
              <a:gd name="T79" fmla="*/ 201097731 h 740"/>
              <a:gd name="T80" fmla="*/ 12457562 w 866"/>
              <a:gd name="T81" fmla="*/ 189955986 h 740"/>
              <a:gd name="T82" fmla="*/ 12080020 w 866"/>
              <a:gd name="T83" fmla="*/ 175009272 h 740"/>
              <a:gd name="T84" fmla="*/ 9437665 w 866"/>
              <a:gd name="T85" fmla="*/ 166585064 h 740"/>
              <a:gd name="T86" fmla="*/ 3774979 w 866"/>
              <a:gd name="T87" fmla="*/ 159519364 h 740"/>
              <a:gd name="T88" fmla="*/ 943636 w 866"/>
              <a:gd name="T89" fmla="*/ 151638351 h 740"/>
              <a:gd name="T90" fmla="*/ 10003760 w 866"/>
              <a:gd name="T91" fmla="*/ 144029456 h 740"/>
              <a:gd name="T92" fmla="*/ 14345269 w 866"/>
              <a:gd name="T93" fmla="*/ 140768203 h 740"/>
              <a:gd name="T94" fmla="*/ 26236301 w 866"/>
              <a:gd name="T95" fmla="*/ 138594382 h 740"/>
              <a:gd name="T96" fmla="*/ 34352789 w 866"/>
              <a:gd name="T97" fmla="*/ 135876845 h 740"/>
              <a:gd name="T98" fmla="*/ 37938780 w 866"/>
              <a:gd name="T99" fmla="*/ 129082742 h 740"/>
              <a:gd name="T100" fmla="*/ 41336652 w 866"/>
              <a:gd name="T101" fmla="*/ 115223460 h 740"/>
              <a:gd name="T102" fmla="*/ 42280288 w 866"/>
              <a:gd name="T103" fmla="*/ 99733552 h 740"/>
              <a:gd name="T104" fmla="*/ 41336652 w 866"/>
              <a:gd name="T105" fmla="*/ 86961181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982494" y="5098894"/>
            <a:ext cx="300038" cy="260350"/>
          </a:xfrm>
          <a:custGeom>
            <a:avLst/>
            <a:gdLst>
              <a:gd name="T0" fmla="*/ 120077618 w 697"/>
              <a:gd name="T1" fmla="*/ 14369758 h 500"/>
              <a:gd name="T2" fmla="*/ 121745261 w 697"/>
              <a:gd name="T3" fmla="*/ 43651843 h 500"/>
              <a:gd name="T4" fmla="*/ 122486532 w 697"/>
              <a:gd name="T5" fmla="*/ 45278510 h 500"/>
              <a:gd name="T6" fmla="*/ 125451613 w 697"/>
              <a:gd name="T7" fmla="*/ 47989795 h 500"/>
              <a:gd name="T8" fmla="*/ 128601797 w 697"/>
              <a:gd name="T9" fmla="*/ 51243128 h 500"/>
              <a:gd name="T10" fmla="*/ 129157534 w 697"/>
              <a:gd name="T11" fmla="*/ 53683649 h 500"/>
              <a:gd name="T12" fmla="*/ 128601797 w 697"/>
              <a:gd name="T13" fmla="*/ 57208268 h 500"/>
              <a:gd name="T14" fmla="*/ 126933723 w 697"/>
              <a:gd name="T15" fmla="*/ 58834934 h 500"/>
              <a:gd name="T16" fmla="*/ 121374626 w 697"/>
              <a:gd name="T17" fmla="*/ 59106219 h 500"/>
              <a:gd name="T18" fmla="*/ 112109608 w 697"/>
              <a:gd name="T19" fmla="*/ 61817504 h 500"/>
              <a:gd name="T20" fmla="*/ 105067970 w 697"/>
              <a:gd name="T21" fmla="*/ 67782123 h 500"/>
              <a:gd name="T22" fmla="*/ 101732253 w 697"/>
              <a:gd name="T23" fmla="*/ 72391359 h 500"/>
              <a:gd name="T24" fmla="*/ 99879508 w 697"/>
              <a:gd name="T25" fmla="*/ 78085213 h 500"/>
              <a:gd name="T26" fmla="*/ 96543791 w 697"/>
              <a:gd name="T27" fmla="*/ 81880596 h 500"/>
              <a:gd name="T28" fmla="*/ 90984694 w 697"/>
              <a:gd name="T29" fmla="*/ 87845735 h 500"/>
              <a:gd name="T30" fmla="*/ 84313691 w 697"/>
              <a:gd name="T31" fmla="*/ 95437020 h 500"/>
              <a:gd name="T32" fmla="*/ 77828221 w 697"/>
              <a:gd name="T33" fmla="*/ 100317541 h 500"/>
              <a:gd name="T34" fmla="*/ 68933408 w 697"/>
              <a:gd name="T35" fmla="*/ 102215493 h 500"/>
              <a:gd name="T36" fmla="*/ 63744946 w 697"/>
              <a:gd name="T37" fmla="*/ 103028826 h 500"/>
              <a:gd name="T38" fmla="*/ 58556484 w 697"/>
              <a:gd name="T39" fmla="*/ 107366778 h 500"/>
              <a:gd name="T40" fmla="*/ 53738226 w 697"/>
              <a:gd name="T41" fmla="*/ 113060632 h 500"/>
              <a:gd name="T42" fmla="*/ 49105932 w 697"/>
              <a:gd name="T43" fmla="*/ 115500633 h 500"/>
              <a:gd name="T44" fmla="*/ 926373 w 697"/>
              <a:gd name="T45" fmla="*/ 134479627 h 500"/>
              <a:gd name="T46" fmla="*/ 5929732 w 697"/>
              <a:gd name="T47" fmla="*/ 132039627 h 500"/>
              <a:gd name="T48" fmla="*/ 15750919 w 697"/>
              <a:gd name="T49" fmla="*/ 128243724 h 500"/>
              <a:gd name="T50" fmla="*/ 17233460 w 697"/>
              <a:gd name="T51" fmla="*/ 124447821 h 500"/>
              <a:gd name="T52" fmla="*/ 18345365 w 697"/>
              <a:gd name="T53" fmla="*/ 118754487 h 500"/>
              <a:gd name="T54" fmla="*/ 22051286 w 697"/>
              <a:gd name="T55" fmla="*/ 114416015 h 500"/>
              <a:gd name="T56" fmla="*/ 29648662 w 697"/>
              <a:gd name="T57" fmla="*/ 108180111 h 500"/>
              <a:gd name="T58" fmla="*/ 33540116 w 697"/>
              <a:gd name="T59" fmla="*/ 103570875 h 500"/>
              <a:gd name="T60" fmla="*/ 35578394 w 697"/>
              <a:gd name="T61" fmla="*/ 96792923 h 500"/>
              <a:gd name="T62" fmla="*/ 35763927 w 697"/>
              <a:gd name="T63" fmla="*/ 85676499 h 500"/>
              <a:gd name="T64" fmla="*/ 36134562 w 697"/>
              <a:gd name="T65" fmla="*/ 68866741 h 500"/>
              <a:gd name="T66" fmla="*/ 35578394 w 697"/>
              <a:gd name="T67" fmla="*/ 52056462 h 500"/>
              <a:gd name="T68" fmla="*/ 39655381 w 697"/>
              <a:gd name="T69" fmla="*/ 51243128 h 500"/>
              <a:gd name="T70" fmla="*/ 42249397 w 697"/>
              <a:gd name="T71" fmla="*/ 48531844 h 500"/>
              <a:gd name="T72" fmla="*/ 44658310 w 697"/>
              <a:gd name="T73" fmla="*/ 44736461 h 500"/>
              <a:gd name="T74" fmla="*/ 46697019 w 697"/>
              <a:gd name="T75" fmla="*/ 41211322 h 500"/>
              <a:gd name="T76" fmla="*/ 52070583 w 697"/>
              <a:gd name="T77" fmla="*/ 39584655 h 500"/>
              <a:gd name="T78" fmla="*/ 58185848 w 697"/>
              <a:gd name="T79" fmla="*/ 38771322 h 500"/>
              <a:gd name="T80" fmla="*/ 63003675 w 697"/>
              <a:gd name="T81" fmla="*/ 35517988 h 500"/>
              <a:gd name="T82" fmla="*/ 66709597 w 697"/>
              <a:gd name="T83" fmla="*/ 29282085 h 500"/>
              <a:gd name="T84" fmla="*/ 71898489 w 697"/>
              <a:gd name="T85" fmla="*/ 13014376 h 500"/>
              <a:gd name="T86" fmla="*/ 75419308 w 697"/>
              <a:gd name="T87" fmla="*/ 3253334 h 500"/>
              <a:gd name="T88" fmla="*/ 78939696 w 697"/>
              <a:gd name="T89" fmla="*/ 2169236 h 500"/>
              <a:gd name="T90" fmla="*/ 83201786 w 697"/>
              <a:gd name="T91" fmla="*/ 5422570 h 500"/>
              <a:gd name="T92" fmla="*/ 94876148 w 697"/>
              <a:gd name="T93" fmla="*/ 4880521 h 500"/>
              <a:gd name="T94" fmla="*/ 109330059 w 697"/>
              <a:gd name="T95" fmla="*/ 3524618 h 500"/>
              <a:gd name="T96" fmla="*/ 110627067 w 697"/>
              <a:gd name="T97" fmla="*/ 4609236 h 500"/>
              <a:gd name="T98" fmla="*/ 112109608 w 697"/>
              <a:gd name="T99" fmla="*/ 9760522 h 500"/>
              <a:gd name="T100" fmla="*/ 113221513 w 697"/>
              <a:gd name="T101" fmla="*/ 13827709 h 500"/>
              <a:gd name="T102" fmla="*/ 114518521 w 697"/>
              <a:gd name="T103" fmla="*/ 1355642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682582" y="4028919"/>
            <a:ext cx="236537" cy="92075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193757" y="4013044"/>
            <a:ext cx="107950" cy="60325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336632" y="3995582"/>
            <a:ext cx="63500" cy="57150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373144" y="4003519"/>
            <a:ext cx="130175" cy="57150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16" name="Rectángulo 615"/>
          <p:cNvSpPr/>
          <p:nvPr/>
        </p:nvSpPr>
        <p:spPr>
          <a:xfrm>
            <a:off x="242987" y="4830565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EUA 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90%</a:t>
            </a:r>
          </a:p>
        </p:txBody>
      </p:sp>
      <p:sp>
        <p:nvSpPr>
          <p:cNvPr id="618" name="Rectángulo 617"/>
          <p:cNvSpPr/>
          <p:nvPr/>
        </p:nvSpPr>
        <p:spPr>
          <a:xfrm>
            <a:off x="1027786" y="6531404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Perú 1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19" name="Rectángulo 618"/>
          <p:cNvSpPr/>
          <p:nvPr/>
        </p:nvSpPr>
        <p:spPr>
          <a:xfrm>
            <a:off x="1198240" y="7386963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Chile 1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0" name="Rectángulo 619"/>
          <p:cNvSpPr/>
          <p:nvPr/>
        </p:nvSpPr>
        <p:spPr>
          <a:xfrm>
            <a:off x="2423569" y="5709452"/>
            <a:ext cx="13052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Colombia 1</a:t>
            </a:r>
            <a:r>
              <a:rPr lang="es-MX" sz="105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1" name="Rectángulo 620"/>
          <p:cNvSpPr/>
          <p:nvPr/>
        </p:nvSpPr>
        <p:spPr>
          <a:xfrm>
            <a:off x="854563" y="5749825"/>
            <a:ext cx="13052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Guatemala 1</a:t>
            </a:r>
            <a:r>
              <a:rPr lang="es-MX" sz="10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2" name="Rectángulo 621"/>
          <p:cNvSpPr/>
          <p:nvPr/>
        </p:nvSpPr>
        <p:spPr>
          <a:xfrm>
            <a:off x="7308121" y="5140899"/>
            <a:ext cx="13052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Japón 1</a:t>
            </a:r>
            <a:r>
              <a:rPr lang="es-MX" sz="105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0" y="9156054"/>
            <a:ext cx="37095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AÑO 2018 - 2024</a:t>
            </a:r>
            <a:endParaRPr lang="es-MX" sz="240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</a:endParaRPr>
          </a:p>
        </p:txBody>
      </p:sp>
      <p:pic>
        <p:nvPicPr>
          <p:cNvPr id="2054" name="Picture 6" descr="Flag of Argentina Flag of England, Flag, flag, computer png | PNGEgg"/>
          <p:cNvPicPr>
            <a:picLocks noChangeAspect="1" noChangeArrowheads="1"/>
          </p:cNvPicPr>
          <p:nvPr/>
        </p:nvPicPr>
        <p:blipFill rotWithShape="1">
          <a:blip r:embed="rId385">
            <a:extLst>
              <a:ext uri="{BEBA8EAE-BF5A-486C-A8C5-ECC9F3942E4B}">
                <a14:imgProps xmlns:a14="http://schemas.microsoft.com/office/drawing/2010/main">
                  <a14:imgLayer r:embed="rId386">
                    <a14:imgEffect>
                      <a14:backgroundRemoval t="0" b="89655" l="0" r="899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56" t="4300" r="18952" b="16172"/>
          <a:stretch/>
        </p:blipFill>
        <p:spPr bwMode="auto">
          <a:xfrm>
            <a:off x="5306858" y="11684729"/>
            <a:ext cx="1852457" cy="182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4" name="Rectángulo 723"/>
          <p:cNvSpPr/>
          <p:nvPr/>
        </p:nvSpPr>
        <p:spPr>
          <a:xfrm>
            <a:off x="5212807" y="13755939"/>
            <a:ext cx="20383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b="1" dirty="0">
                <a:solidFill>
                  <a:srgbClr val="BC955C"/>
                </a:solidFill>
                <a:latin typeface="Montserrat" panose="00000500000000000000" pitchFamily="2" charset="0"/>
              </a:rPr>
              <a:t>40 Folios</a:t>
            </a:r>
          </a:p>
        </p:txBody>
      </p:sp>
      <p:sp>
        <p:nvSpPr>
          <p:cNvPr id="609" name="Rectángulo 608"/>
          <p:cNvSpPr/>
          <p:nvPr/>
        </p:nvSpPr>
        <p:spPr>
          <a:xfrm>
            <a:off x="26667" y="8645371"/>
            <a:ext cx="7703250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INTERCAMBIOS CON ARGENTINA  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728" name="Rectángulo 727"/>
          <p:cNvSpPr/>
          <p:nvPr/>
        </p:nvSpPr>
        <p:spPr>
          <a:xfrm rot="16200000">
            <a:off x="-1996462" y="12853248"/>
            <a:ext cx="553253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Montserrat" panose="00000500000000000000" pitchFamily="2" charset="0"/>
              </a:rPr>
              <a:t>ARGENTINA</a:t>
            </a:r>
            <a:endParaRPr lang="es-MX" sz="140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613" name="Rectángulo 612"/>
          <p:cNvSpPr/>
          <p:nvPr/>
        </p:nvSpPr>
        <p:spPr>
          <a:xfrm>
            <a:off x="3280611" y="3072037"/>
            <a:ext cx="23921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chemeClr val="accent5">
                    <a:lumMod val="75000"/>
                  </a:schemeClr>
                </a:solidFill>
              </a:rPr>
              <a:t> </a:t>
            </a:r>
            <a:r>
              <a:rPr lang="es-MX" sz="2400" b="1" dirty="0">
                <a:solidFill>
                  <a:schemeClr val="accent5">
                    <a:lumMod val="75000"/>
                  </a:schemeClr>
                </a:solidFill>
              </a:rPr>
              <a:t>112 Países de Destin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87"/>
          <a:stretch>
            <a:fillRect/>
          </a:stretch>
        </p:blipFill>
        <p:spPr>
          <a:xfrm>
            <a:off x="6812803" y="8594363"/>
            <a:ext cx="5238181" cy="7571061"/>
          </a:xfrm>
          <a:prstGeom prst="rect">
            <a:avLst/>
          </a:prstGeom>
        </p:spPr>
      </p:pic>
      <p:graphicFrame>
        <p:nvGraphicFramePr>
          <p:cNvPr id="611" name="Gráfico 6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0251699"/>
              </p:ext>
            </p:extLst>
          </p:nvPr>
        </p:nvGraphicFramePr>
        <p:xfrm>
          <a:off x="3409893" y="3723932"/>
          <a:ext cx="8761973" cy="5232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8"/>
          </a:graphicData>
        </a:graphic>
      </p:graphicFrame>
      <p:graphicFrame>
        <p:nvGraphicFramePr>
          <p:cNvPr id="614" name="Gráfico 6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3781174"/>
              </p:ext>
            </p:extLst>
          </p:nvPr>
        </p:nvGraphicFramePr>
        <p:xfrm>
          <a:off x="947854" y="9850284"/>
          <a:ext cx="4163353" cy="6305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9"/>
          </a:graphicData>
        </a:graphic>
      </p:graphicFrame>
    </p:spTree>
    <p:extLst>
      <p:ext uri="{BB962C8B-B14F-4D97-AF65-F5344CB8AC3E}">
        <p14:creationId xmlns:p14="http://schemas.microsoft.com/office/powerpoint/2010/main" val="2677100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28</TotalTime>
  <Words>438</Words>
  <Application>Microsoft Office PowerPoint</Application>
  <PresentationFormat>Personalizado</PresentationFormat>
  <Paragraphs>171</Paragraphs>
  <Slides>6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4</vt:i4>
      </vt:variant>
      <vt:variant>
        <vt:lpstr>Títulos de diapositiva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onsolas</vt:lpstr>
      <vt:lpstr>Monserrat</vt:lpstr>
      <vt:lpstr>Montserrat</vt:lpstr>
      <vt:lpstr>Tema de Office</vt:lpstr>
      <vt:lpstr>2_Diseño personalizado</vt:lpstr>
      <vt:lpstr>1_Diseño personalizado</vt:lpstr>
      <vt:lpstr>Diseño personaliz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adistica DGIF</dc:creator>
  <cp:lastModifiedBy>Maria del Rosario Molina Osorio</cp:lastModifiedBy>
  <cp:revision>1450</cp:revision>
  <cp:lastPrinted>2019-11-06T15:49:37Z</cp:lastPrinted>
  <dcterms:created xsi:type="dcterms:W3CDTF">2017-04-19T14:42:16Z</dcterms:created>
  <dcterms:modified xsi:type="dcterms:W3CDTF">2024-04-15T17:05:53Z</dcterms:modified>
</cp:coreProperties>
</file>